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24.xml" ContentType="application/vnd.openxmlformats-officedocument.presentationml.tags+xml"/>
  <Override PartName="/ppt/notesSlides/notesSlide1.xml" ContentType="application/vnd.openxmlformats-officedocument.presentationml.notesSlide+xml"/>
  <Override PartName="/ppt/tags/tag25.xml" ContentType="application/vnd.openxmlformats-officedocument.presentationml.tags+xml"/>
  <Override PartName="/ppt/notesSlides/notesSlide2.xml" ContentType="application/vnd.openxmlformats-officedocument.presentationml.notesSlide+xml"/>
  <Override PartName="/ppt/tags/tag26.xml" ContentType="application/vnd.openxmlformats-officedocument.presentationml.tags+xml"/>
  <Override PartName="/ppt/notesSlides/notesSlide3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charts/chart1.xml" ContentType="application/vnd.openxmlformats-officedocument.drawingml.chart+xml"/>
  <Override PartName="/ppt/tags/tag29.xml" ContentType="application/vnd.openxmlformats-officedocument.presentationml.tags+xml"/>
  <Override PartName="/ppt/notesSlides/notesSlide4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5.xml" ContentType="application/vnd.openxmlformats-officedocument.presentationml.notesSlide+xml"/>
  <Override PartName="/ppt/tags/tag39.xml" ContentType="application/vnd.openxmlformats-officedocument.presentationml.tags+xml"/>
  <Override PartName="/ppt/notesSlides/notesSlide6.xml" ContentType="application/vnd.openxmlformats-officedocument.presentationml.notesSlide+xml"/>
  <Override PartName="/ppt/tags/tag40.xml" ContentType="application/vnd.openxmlformats-officedocument.presentationml.tags+xml"/>
  <Override PartName="/ppt/notesSlides/notesSlide7.xml" ContentType="application/vnd.openxmlformats-officedocument.presentationml.notesSlide+xml"/>
  <Override PartName="/ppt/tags/tag4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  <Override PartName="/ppt/charts/colors1.xml" ContentType="application/vnd.ms-office.chartcolorstyle+xml"/>
  <Override PartName="/ppt/charts/style1.xml" ContentType="application/vnd.ms-office.chartstyl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83" r:id="rId2"/>
    <p:sldMasterId id="2147483753" r:id="rId3"/>
  </p:sldMasterIdLst>
  <p:notesMasterIdLst>
    <p:notesMasterId r:id="rId30"/>
  </p:notesMasterIdLst>
  <p:handoutMasterIdLst>
    <p:handoutMasterId r:id="rId31"/>
  </p:handoutMasterIdLst>
  <p:sldIdLst>
    <p:sldId id="4737" r:id="rId4"/>
    <p:sldId id="11577" r:id="rId5"/>
    <p:sldId id="11574" r:id="rId6"/>
    <p:sldId id="11598" r:id="rId7"/>
    <p:sldId id="11599" r:id="rId8"/>
    <p:sldId id="11466" r:id="rId9"/>
    <p:sldId id="4637" r:id="rId10"/>
    <p:sldId id="11563" r:id="rId11"/>
    <p:sldId id="11564" r:id="rId12"/>
    <p:sldId id="11565" r:id="rId13"/>
    <p:sldId id="11566" r:id="rId14"/>
    <p:sldId id="11361" r:id="rId15"/>
    <p:sldId id="11552" r:id="rId16"/>
    <p:sldId id="11600" r:id="rId17"/>
    <p:sldId id="11629" r:id="rId18"/>
    <p:sldId id="11570" r:id="rId19"/>
    <p:sldId id="4613" r:id="rId20"/>
    <p:sldId id="11594" r:id="rId21"/>
    <p:sldId id="11630" r:id="rId22"/>
    <p:sldId id="11595" r:id="rId23"/>
    <p:sldId id="11631" r:id="rId24"/>
    <p:sldId id="11632" r:id="rId25"/>
    <p:sldId id="11633" r:id="rId26"/>
    <p:sldId id="11634" r:id="rId27"/>
    <p:sldId id="11635" r:id="rId28"/>
    <p:sldId id="11637" r:id="rId29"/>
  </p:sldIdLst>
  <p:sldSz cx="24384000" cy="13716000"/>
  <p:notesSz cx="6858000" cy="9144000"/>
  <p:custDataLst>
    <p:tags r:id="rId32"/>
  </p:custDataLst>
  <p:defaultTextStyle>
    <a:defPPr marL="0" marR="0" indent="0" algn="l" defTabSz="9144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l" defTabSz="18288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Calibri"/>
        <a:ea typeface="Calibri"/>
        <a:cs typeface="Calibri"/>
        <a:sym typeface="Calibri"/>
      </a:defRPr>
    </a:lvl1pPr>
    <a:lvl2pPr marL="0" marR="0" indent="457200" algn="l" defTabSz="18288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Calibri"/>
        <a:ea typeface="Calibri"/>
        <a:cs typeface="Calibri"/>
        <a:sym typeface="Calibri"/>
      </a:defRPr>
    </a:lvl2pPr>
    <a:lvl3pPr marL="0" marR="0" indent="914400" algn="l" defTabSz="18288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Calibri"/>
        <a:ea typeface="Calibri"/>
        <a:cs typeface="Calibri"/>
        <a:sym typeface="Calibri"/>
      </a:defRPr>
    </a:lvl3pPr>
    <a:lvl4pPr marL="0" marR="0" indent="1371600" algn="l" defTabSz="18288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Calibri"/>
        <a:ea typeface="Calibri"/>
        <a:cs typeface="Calibri"/>
        <a:sym typeface="Calibri"/>
      </a:defRPr>
    </a:lvl4pPr>
    <a:lvl5pPr marL="0" marR="0" indent="1828800" algn="l" defTabSz="18288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Calibri"/>
        <a:ea typeface="Calibri"/>
        <a:cs typeface="Calibri"/>
        <a:sym typeface="Calibri"/>
      </a:defRPr>
    </a:lvl5pPr>
    <a:lvl6pPr marL="0" marR="0" indent="2286000" algn="l" defTabSz="18288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Calibri"/>
        <a:ea typeface="Calibri"/>
        <a:cs typeface="Calibri"/>
        <a:sym typeface="Calibri"/>
      </a:defRPr>
    </a:lvl6pPr>
    <a:lvl7pPr marL="0" marR="0" indent="2743200" algn="l" defTabSz="18288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Calibri"/>
        <a:ea typeface="Calibri"/>
        <a:cs typeface="Calibri"/>
        <a:sym typeface="Calibri"/>
      </a:defRPr>
    </a:lvl7pPr>
    <a:lvl8pPr marL="0" marR="0" indent="3200400" algn="l" defTabSz="18288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Calibri"/>
        <a:ea typeface="Calibri"/>
        <a:cs typeface="Calibri"/>
        <a:sym typeface="Calibri"/>
      </a:defRPr>
    </a:lvl8pPr>
    <a:lvl9pPr marL="0" marR="0" indent="3657600" algn="l" defTabSz="18288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Calibri"/>
        <a:ea typeface="Calibri"/>
        <a:cs typeface="Calibri"/>
        <a:sym typeface="Calibri"/>
      </a:defRPr>
    </a:lvl9pPr>
  </p:defaultTextStyle>
  <p:extLst>
    <p:ext uri="{521415D9-36F7-43E2-AB2F-B90AF26B5E84}">
      <p14:sectionLst xmlns:p14="http://schemas.microsoft.com/office/powerpoint/2010/main">
        <p14:section name="Seção Padrão" id="{E5A8FC0C-4FE3-4D94-A318-AAC6A6416AC2}">
          <p14:sldIdLst>
            <p14:sldId id="4737"/>
            <p14:sldId id="11577"/>
            <p14:sldId id="11574"/>
            <p14:sldId id="11598"/>
            <p14:sldId id="11599"/>
            <p14:sldId id="11466"/>
            <p14:sldId id="4637"/>
            <p14:sldId id="11563"/>
            <p14:sldId id="11564"/>
            <p14:sldId id="11565"/>
            <p14:sldId id="11566"/>
            <p14:sldId id="11361"/>
            <p14:sldId id="11552"/>
            <p14:sldId id="11600"/>
            <p14:sldId id="11629"/>
            <p14:sldId id="11570"/>
            <p14:sldId id="4613"/>
            <p14:sldId id="11594"/>
            <p14:sldId id="11630"/>
            <p14:sldId id="11595"/>
            <p14:sldId id="11631"/>
            <p14:sldId id="11632"/>
            <p14:sldId id="11633"/>
            <p14:sldId id="11634"/>
            <p14:sldId id="11635"/>
            <p14:sldId id="11637"/>
          </p14:sldIdLst>
        </p14:section>
      </p14:sectionLst>
    </p:ext>
    <p:ext uri="{EFAFB233-063F-42B5-8137-9DF3F51BA10A}">
      <p15:sldGuideLst xmlns:p15="http://schemas.microsoft.com/office/powerpoint/2012/main" xmlns="">
        <p15:guide id="1" orient="horz" pos="4320">
          <p15:clr>
            <a:srgbClr val="A4A3A4"/>
          </p15:clr>
        </p15:guide>
        <p15:guide id="2" pos="76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uliana Passadore" initials="JP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44F15"/>
    <a:srgbClr val="26BE69"/>
    <a:srgbClr val="49C6F2"/>
    <a:srgbClr val="1C1C1C"/>
    <a:srgbClr val="F0F0F0"/>
    <a:srgbClr val="74C7E6"/>
    <a:srgbClr val="010101"/>
    <a:srgbClr val="FDF2EA"/>
    <a:srgbClr val="FBE5D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6901CF7-CF18-4A22-99EB-EB9EC8F266E4}" v="16" dt="2021-11-05T04:20:41.468"/>
    <p1510:client id="{EFB02290-3827-CD8C-01C8-806B94F3DE1A}" v="15" dt="2021-11-09T12:54:57.136"/>
  </p1510:revLst>
</p1510:revInfo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>
          <a:latin typeface="Calibri"/>
          <a:ea typeface="Calibri"/>
          <a:cs typeface="Calibri"/>
        </a:font>
        <a:srgbClr val="000000"/>
      </a:tcTxStyle>
      <a:tcStyle>
        <a:tcBdr>
          <a:left>
            <a:ln w="25400" cap="flat">
              <a:solidFill>
                <a:srgbClr val="FFFFFF"/>
              </a:solidFill>
              <a:prstDash val="solid"/>
              <a:round/>
            </a:ln>
          </a:left>
          <a:right>
            <a:ln w="25400" cap="flat">
              <a:solidFill>
                <a:srgbClr val="FFFFFF"/>
              </a:solidFill>
              <a:prstDash val="solid"/>
              <a:round/>
            </a:ln>
          </a:right>
          <a:top>
            <a:ln w="25400" cap="flat">
              <a:solidFill>
                <a:srgbClr val="FFFFFF"/>
              </a:solidFill>
              <a:prstDash val="solid"/>
              <a:round/>
            </a:ln>
          </a:top>
          <a:bottom>
            <a:ln w="25400" cap="flat">
              <a:solidFill>
                <a:srgbClr val="FFFFFF"/>
              </a:solidFill>
              <a:prstDash val="solid"/>
              <a:round/>
            </a:ln>
          </a:bottom>
          <a:insideH>
            <a:ln w="25400" cap="flat">
              <a:solidFill>
                <a:srgbClr val="FFFFFF"/>
              </a:solidFill>
              <a:prstDash val="solid"/>
              <a:round/>
            </a:ln>
          </a:insideH>
          <a:insideV>
            <a:ln w="254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CDD4EA"/>
          </a:solidFill>
        </a:fill>
      </a:tcStyle>
    </a:wholeTbl>
    <a:band2H>
      <a:tcTxStyle/>
      <a:tcStyle>
        <a:tcBdr/>
        <a:fill>
          <a:solidFill>
            <a:srgbClr val="E8EBF5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25400" cap="flat">
              <a:solidFill>
                <a:srgbClr val="FFFFFF"/>
              </a:solidFill>
              <a:prstDash val="solid"/>
              <a:round/>
            </a:ln>
          </a:left>
          <a:right>
            <a:ln w="25400" cap="flat">
              <a:solidFill>
                <a:srgbClr val="FFFFFF"/>
              </a:solidFill>
              <a:prstDash val="solid"/>
              <a:round/>
            </a:ln>
          </a:right>
          <a:top>
            <a:ln w="25400" cap="flat">
              <a:solidFill>
                <a:srgbClr val="FFFFFF"/>
              </a:solidFill>
              <a:prstDash val="solid"/>
              <a:round/>
            </a:ln>
          </a:top>
          <a:bottom>
            <a:ln w="25400" cap="flat">
              <a:solidFill>
                <a:srgbClr val="FFFFFF"/>
              </a:solidFill>
              <a:prstDash val="solid"/>
              <a:round/>
            </a:ln>
          </a:bottom>
          <a:insideH>
            <a:ln w="25400" cap="flat">
              <a:solidFill>
                <a:srgbClr val="FFFFFF"/>
              </a:solidFill>
              <a:prstDash val="solid"/>
              <a:round/>
            </a:ln>
          </a:insideH>
          <a:insideV>
            <a:ln w="254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25400" cap="flat">
              <a:solidFill>
                <a:srgbClr val="FFFFFF"/>
              </a:solidFill>
              <a:prstDash val="solid"/>
              <a:round/>
            </a:ln>
          </a:left>
          <a:right>
            <a:ln w="25400" cap="flat">
              <a:solidFill>
                <a:srgbClr val="FFFFFF"/>
              </a:solidFill>
              <a:prstDash val="solid"/>
              <a:round/>
            </a:ln>
          </a:right>
          <a:top>
            <a:ln w="76200" cap="flat">
              <a:solidFill>
                <a:srgbClr val="FFFFFF"/>
              </a:solidFill>
              <a:prstDash val="solid"/>
              <a:round/>
            </a:ln>
          </a:top>
          <a:bottom>
            <a:ln w="25400" cap="flat">
              <a:solidFill>
                <a:srgbClr val="FFFFFF"/>
              </a:solidFill>
              <a:prstDash val="solid"/>
              <a:round/>
            </a:ln>
          </a:bottom>
          <a:insideH>
            <a:ln w="25400" cap="flat">
              <a:solidFill>
                <a:srgbClr val="FFFFFF"/>
              </a:solidFill>
              <a:prstDash val="solid"/>
              <a:round/>
            </a:ln>
          </a:insideH>
          <a:insideV>
            <a:ln w="254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25400" cap="flat">
              <a:solidFill>
                <a:srgbClr val="FFFFFF"/>
              </a:solidFill>
              <a:prstDash val="solid"/>
              <a:round/>
            </a:ln>
          </a:left>
          <a:right>
            <a:ln w="25400" cap="flat">
              <a:solidFill>
                <a:srgbClr val="FFFFFF"/>
              </a:solidFill>
              <a:prstDash val="solid"/>
              <a:round/>
            </a:ln>
          </a:right>
          <a:top>
            <a:ln w="25400" cap="flat">
              <a:solidFill>
                <a:srgbClr val="FFFFFF"/>
              </a:solidFill>
              <a:prstDash val="solid"/>
              <a:round/>
            </a:ln>
          </a:top>
          <a:bottom>
            <a:ln w="76200" cap="flat">
              <a:solidFill>
                <a:srgbClr val="FFFFFF"/>
              </a:solidFill>
              <a:prstDash val="solid"/>
              <a:round/>
            </a:ln>
          </a:bottom>
          <a:insideH>
            <a:ln w="25400" cap="flat">
              <a:solidFill>
                <a:srgbClr val="FFFFFF"/>
              </a:solidFill>
              <a:prstDash val="solid"/>
              <a:round/>
            </a:ln>
          </a:insideH>
          <a:insideV>
            <a:ln w="254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Row>
  </a:tblStyle>
  <a:tblStyle styleId="{C7B018BB-80A7-4F77-B60F-C8B233D01FF8}" styleName="">
    <a:tblBg/>
    <a:wholeTbl>
      <a:tcTxStyle b="off" i="off">
        <a:font>
          <a:latin typeface="Calibri"/>
          <a:ea typeface="Calibri"/>
          <a:cs typeface="Calibri"/>
        </a:font>
        <a:srgbClr val="000000"/>
      </a:tcTxStyle>
      <a:tcStyle>
        <a:tcBdr>
          <a:left>
            <a:ln w="25400" cap="flat">
              <a:solidFill>
                <a:srgbClr val="FFFFFF"/>
              </a:solidFill>
              <a:prstDash val="solid"/>
              <a:round/>
            </a:ln>
          </a:left>
          <a:right>
            <a:ln w="25400" cap="flat">
              <a:solidFill>
                <a:srgbClr val="FFFFFF"/>
              </a:solidFill>
              <a:prstDash val="solid"/>
              <a:round/>
            </a:ln>
          </a:right>
          <a:top>
            <a:ln w="25400" cap="flat">
              <a:solidFill>
                <a:srgbClr val="FFFFFF"/>
              </a:solidFill>
              <a:prstDash val="solid"/>
              <a:round/>
            </a:ln>
          </a:top>
          <a:bottom>
            <a:ln w="25400" cap="flat">
              <a:solidFill>
                <a:srgbClr val="FFFFFF"/>
              </a:solidFill>
              <a:prstDash val="solid"/>
              <a:round/>
            </a:ln>
          </a:bottom>
          <a:insideH>
            <a:ln w="25400" cap="flat">
              <a:solidFill>
                <a:srgbClr val="FFFFFF"/>
              </a:solidFill>
              <a:prstDash val="solid"/>
              <a:round/>
            </a:ln>
          </a:insideH>
          <a:insideV>
            <a:ln w="254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E0E0E0"/>
          </a:solidFill>
        </a:fill>
      </a:tcStyle>
    </a:wholeTbl>
    <a:band2H>
      <a:tcTxStyle/>
      <a:tcStyle>
        <a:tcBdr/>
        <a:fill>
          <a:solidFill>
            <a:srgbClr val="F0F0F0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25400" cap="flat">
              <a:solidFill>
                <a:srgbClr val="FFFFFF"/>
              </a:solidFill>
              <a:prstDash val="solid"/>
              <a:round/>
            </a:ln>
          </a:left>
          <a:right>
            <a:ln w="25400" cap="flat">
              <a:solidFill>
                <a:srgbClr val="FFFFFF"/>
              </a:solidFill>
              <a:prstDash val="solid"/>
              <a:round/>
            </a:ln>
          </a:right>
          <a:top>
            <a:ln w="25400" cap="flat">
              <a:solidFill>
                <a:srgbClr val="FFFFFF"/>
              </a:solidFill>
              <a:prstDash val="solid"/>
              <a:round/>
            </a:ln>
          </a:top>
          <a:bottom>
            <a:ln w="25400" cap="flat">
              <a:solidFill>
                <a:srgbClr val="FFFFFF"/>
              </a:solidFill>
              <a:prstDash val="solid"/>
              <a:round/>
            </a:ln>
          </a:bottom>
          <a:insideH>
            <a:ln w="25400" cap="flat">
              <a:solidFill>
                <a:srgbClr val="FFFFFF"/>
              </a:solidFill>
              <a:prstDash val="solid"/>
              <a:round/>
            </a:ln>
          </a:insideH>
          <a:insideV>
            <a:ln w="254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25400" cap="flat">
              <a:solidFill>
                <a:srgbClr val="FFFFFF"/>
              </a:solidFill>
              <a:prstDash val="solid"/>
              <a:round/>
            </a:ln>
          </a:left>
          <a:right>
            <a:ln w="25400" cap="flat">
              <a:solidFill>
                <a:srgbClr val="FFFFFF"/>
              </a:solidFill>
              <a:prstDash val="solid"/>
              <a:round/>
            </a:ln>
          </a:right>
          <a:top>
            <a:ln w="76200" cap="flat">
              <a:solidFill>
                <a:srgbClr val="FFFFFF"/>
              </a:solidFill>
              <a:prstDash val="solid"/>
              <a:round/>
            </a:ln>
          </a:top>
          <a:bottom>
            <a:ln w="25400" cap="flat">
              <a:solidFill>
                <a:srgbClr val="FFFFFF"/>
              </a:solidFill>
              <a:prstDash val="solid"/>
              <a:round/>
            </a:ln>
          </a:bottom>
          <a:insideH>
            <a:ln w="25400" cap="flat">
              <a:solidFill>
                <a:srgbClr val="FFFFFF"/>
              </a:solidFill>
              <a:prstDash val="solid"/>
              <a:round/>
            </a:ln>
          </a:insideH>
          <a:insideV>
            <a:ln w="254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25400" cap="flat">
              <a:solidFill>
                <a:srgbClr val="FFFFFF"/>
              </a:solidFill>
              <a:prstDash val="solid"/>
              <a:round/>
            </a:ln>
          </a:left>
          <a:right>
            <a:ln w="25400" cap="flat">
              <a:solidFill>
                <a:srgbClr val="FFFFFF"/>
              </a:solidFill>
              <a:prstDash val="solid"/>
              <a:round/>
            </a:ln>
          </a:right>
          <a:top>
            <a:ln w="25400" cap="flat">
              <a:solidFill>
                <a:srgbClr val="FFFFFF"/>
              </a:solidFill>
              <a:prstDash val="solid"/>
              <a:round/>
            </a:ln>
          </a:top>
          <a:bottom>
            <a:ln w="76200" cap="flat">
              <a:solidFill>
                <a:srgbClr val="FFFFFF"/>
              </a:solidFill>
              <a:prstDash val="solid"/>
              <a:round/>
            </a:ln>
          </a:bottom>
          <a:insideH>
            <a:ln w="25400" cap="flat">
              <a:solidFill>
                <a:srgbClr val="FFFFFF"/>
              </a:solidFill>
              <a:prstDash val="solid"/>
              <a:round/>
            </a:ln>
          </a:insideH>
          <a:insideV>
            <a:ln w="254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Row>
  </a:tblStyle>
  <a:tblStyle styleId="{EEE7283C-3CF3-47DC-8721-378D4A62B228}" styleName="">
    <a:tblBg/>
    <a:wholeTbl>
      <a:tcTxStyle b="off" i="off">
        <a:font>
          <a:latin typeface="Calibri"/>
          <a:ea typeface="Calibri"/>
          <a:cs typeface="Calibri"/>
        </a:font>
        <a:srgbClr val="000000"/>
      </a:tcTxStyle>
      <a:tcStyle>
        <a:tcBdr>
          <a:left>
            <a:ln w="25400" cap="flat">
              <a:solidFill>
                <a:srgbClr val="FFFFFF"/>
              </a:solidFill>
              <a:prstDash val="solid"/>
              <a:round/>
            </a:ln>
          </a:left>
          <a:right>
            <a:ln w="25400" cap="flat">
              <a:solidFill>
                <a:srgbClr val="FFFFFF"/>
              </a:solidFill>
              <a:prstDash val="solid"/>
              <a:round/>
            </a:ln>
          </a:right>
          <a:top>
            <a:ln w="25400" cap="flat">
              <a:solidFill>
                <a:srgbClr val="FFFFFF"/>
              </a:solidFill>
              <a:prstDash val="solid"/>
              <a:round/>
            </a:ln>
          </a:top>
          <a:bottom>
            <a:ln w="25400" cap="flat">
              <a:solidFill>
                <a:srgbClr val="FFFFFF"/>
              </a:solidFill>
              <a:prstDash val="solid"/>
              <a:round/>
            </a:ln>
          </a:bottom>
          <a:insideH>
            <a:ln w="25400" cap="flat">
              <a:solidFill>
                <a:srgbClr val="FFFFFF"/>
              </a:solidFill>
              <a:prstDash val="solid"/>
              <a:round/>
            </a:ln>
          </a:insideH>
          <a:insideV>
            <a:ln w="254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D4E2CE"/>
          </a:solidFill>
        </a:fill>
      </a:tcStyle>
    </a:wholeTbl>
    <a:band2H>
      <a:tcTxStyle/>
      <a:tcStyle>
        <a:tcBdr/>
        <a:fill>
          <a:solidFill>
            <a:srgbClr val="EBF1E8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25400" cap="flat">
              <a:solidFill>
                <a:srgbClr val="FFFFFF"/>
              </a:solidFill>
              <a:prstDash val="solid"/>
              <a:round/>
            </a:ln>
          </a:left>
          <a:right>
            <a:ln w="25400" cap="flat">
              <a:solidFill>
                <a:srgbClr val="FFFFFF"/>
              </a:solidFill>
              <a:prstDash val="solid"/>
              <a:round/>
            </a:ln>
          </a:right>
          <a:top>
            <a:ln w="25400" cap="flat">
              <a:solidFill>
                <a:srgbClr val="FFFFFF"/>
              </a:solidFill>
              <a:prstDash val="solid"/>
              <a:round/>
            </a:ln>
          </a:top>
          <a:bottom>
            <a:ln w="25400" cap="flat">
              <a:solidFill>
                <a:srgbClr val="FFFFFF"/>
              </a:solidFill>
              <a:prstDash val="solid"/>
              <a:round/>
            </a:ln>
          </a:bottom>
          <a:insideH>
            <a:ln w="25400" cap="flat">
              <a:solidFill>
                <a:srgbClr val="FFFFFF"/>
              </a:solidFill>
              <a:prstDash val="solid"/>
              <a:round/>
            </a:ln>
          </a:insideH>
          <a:insideV>
            <a:ln w="254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25400" cap="flat">
              <a:solidFill>
                <a:srgbClr val="FFFFFF"/>
              </a:solidFill>
              <a:prstDash val="solid"/>
              <a:round/>
            </a:ln>
          </a:left>
          <a:right>
            <a:ln w="25400" cap="flat">
              <a:solidFill>
                <a:srgbClr val="FFFFFF"/>
              </a:solidFill>
              <a:prstDash val="solid"/>
              <a:round/>
            </a:ln>
          </a:right>
          <a:top>
            <a:ln w="76200" cap="flat">
              <a:solidFill>
                <a:srgbClr val="FFFFFF"/>
              </a:solidFill>
              <a:prstDash val="solid"/>
              <a:round/>
            </a:ln>
          </a:top>
          <a:bottom>
            <a:ln w="25400" cap="flat">
              <a:solidFill>
                <a:srgbClr val="FFFFFF"/>
              </a:solidFill>
              <a:prstDash val="solid"/>
              <a:round/>
            </a:ln>
          </a:bottom>
          <a:insideH>
            <a:ln w="25400" cap="flat">
              <a:solidFill>
                <a:srgbClr val="FFFFFF"/>
              </a:solidFill>
              <a:prstDash val="solid"/>
              <a:round/>
            </a:ln>
          </a:insideH>
          <a:insideV>
            <a:ln w="254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25400" cap="flat">
              <a:solidFill>
                <a:srgbClr val="FFFFFF"/>
              </a:solidFill>
              <a:prstDash val="solid"/>
              <a:round/>
            </a:ln>
          </a:left>
          <a:right>
            <a:ln w="25400" cap="flat">
              <a:solidFill>
                <a:srgbClr val="FFFFFF"/>
              </a:solidFill>
              <a:prstDash val="solid"/>
              <a:round/>
            </a:ln>
          </a:right>
          <a:top>
            <a:ln w="25400" cap="flat">
              <a:solidFill>
                <a:srgbClr val="FFFFFF"/>
              </a:solidFill>
              <a:prstDash val="solid"/>
              <a:round/>
            </a:ln>
          </a:top>
          <a:bottom>
            <a:ln w="76200" cap="flat">
              <a:solidFill>
                <a:srgbClr val="FFFFFF"/>
              </a:solidFill>
              <a:prstDash val="solid"/>
              <a:round/>
            </a:ln>
          </a:bottom>
          <a:insideH>
            <a:ln w="25400" cap="flat">
              <a:solidFill>
                <a:srgbClr val="FFFFFF"/>
              </a:solidFill>
              <a:prstDash val="solid"/>
              <a:round/>
            </a:ln>
          </a:insideH>
          <a:insideV>
            <a:ln w="254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Row>
  </a:tblStyle>
  <a:tblStyle styleId="{CF821DB8-F4EB-4A41-A1BA-3FCAFE7338EE}" styleName="">
    <a:tblBg/>
    <a:wholeTbl>
      <a:tcTxStyle b="off" i="off">
        <a:font>
          <a:latin typeface="Calibri"/>
          <a:ea typeface="Calibri"/>
          <a:cs typeface="Calibri"/>
        </a:font>
        <a:srgbClr val="000000"/>
      </a:tcTxStyle>
      <a:tcStyle>
        <a:tcBdr>
          <a:left>
            <a:ln w="25400" cap="flat">
              <a:noFill/>
              <a:miter lim="400000"/>
            </a:ln>
          </a:left>
          <a:right>
            <a:ln w="25400" cap="flat">
              <a:noFill/>
              <a:miter lim="400000"/>
            </a:ln>
          </a:right>
          <a:top>
            <a:ln w="25400" cap="flat">
              <a:noFill/>
              <a:miter lim="400000"/>
            </a:ln>
          </a:top>
          <a:bottom>
            <a:ln w="25400" cap="flat">
              <a:noFill/>
              <a:miter lim="400000"/>
            </a:ln>
          </a:bottom>
          <a:insideH>
            <a:ln w="25400" cap="flat">
              <a:noFill/>
              <a:miter lim="400000"/>
            </a:ln>
          </a:insideH>
          <a:insideV>
            <a:ln w="25400" cap="flat">
              <a:noFill/>
              <a:miter lim="400000"/>
            </a:ln>
          </a:insideV>
        </a:tcBdr>
        <a:fill>
          <a:solidFill>
            <a:srgbClr val="E6E6E6"/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25400" cap="flat">
              <a:noFill/>
              <a:miter lim="400000"/>
            </a:ln>
          </a:left>
          <a:right>
            <a:ln w="25400" cap="flat">
              <a:noFill/>
              <a:miter lim="400000"/>
            </a:ln>
          </a:right>
          <a:top>
            <a:ln w="25400" cap="flat">
              <a:noFill/>
              <a:miter lim="400000"/>
            </a:ln>
          </a:top>
          <a:bottom>
            <a:ln w="25400" cap="flat">
              <a:noFill/>
              <a:miter lim="400000"/>
            </a:ln>
          </a:bottom>
          <a:insideH>
            <a:ln w="25400" cap="flat">
              <a:noFill/>
              <a:miter lim="400000"/>
            </a:ln>
          </a:insideH>
          <a:insideV>
            <a:ln w="254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000000"/>
      </a:tcTxStyle>
      <a:tcStyle>
        <a:tcBdr>
          <a:left>
            <a:ln w="25400" cap="flat">
              <a:noFill/>
              <a:miter lim="400000"/>
            </a:ln>
          </a:left>
          <a:right>
            <a:ln w="25400" cap="flat">
              <a:noFill/>
              <a:miter lim="400000"/>
            </a:ln>
          </a:right>
          <a:top>
            <a:ln w="101600" cap="flat">
              <a:solidFill>
                <a:srgbClr val="000000"/>
              </a:solidFill>
              <a:prstDash val="solid"/>
              <a:round/>
            </a:ln>
          </a:top>
          <a:bottom>
            <a:ln w="50800" cap="flat">
              <a:solidFill>
                <a:srgbClr val="000000"/>
              </a:solidFill>
              <a:prstDash val="solid"/>
              <a:round/>
            </a:ln>
          </a:bottom>
          <a:insideH>
            <a:ln w="25400" cap="flat">
              <a:noFill/>
              <a:miter lim="400000"/>
            </a:ln>
          </a:insideH>
          <a:insideV>
            <a:ln w="254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25400" cap="flat">
              <a:noFill/>
              <a:miter lim="400000"/>
            </a:ln>
          </a:left>
          <a:right>
            <a:ln w="25400" cap="flat">
              <a:noFill/>
              <a:miter lim="400000"/>
            </a:ln>
          </a:right>
          <a:top>
            <a:ln w="50800" cap="flat">
              <a:solidFill>
                <a:srgbClr val="000000"/>
              </a:solidFill>
              <a:prstDash val="solid"/>
              <a:round/>
            </a:ln>
          </a:top>
          <a:bottom>
            <a:ln w="50800" cap="flat">
              <a:solidFill>
                <a:srgbClr val="000000"/>
              </a:solidFill>
              <a:prstDash val="solid"/>
              <a:round/>
            </a:ln>
          </a:bottom>
          <a:insideH>
            <a:ln w="25400" cap="flat">
              <a:noFill/>
              <a:miter lim="400000"/>
            </a:ln>
          </a:insideH>
          <a:insideV>
            <a:ln w="254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Row>
  </a:tblStyle>
  <a:tblStyle styleId="{33BA23B1-9221-436E-865A-0063620EA4FD}" styleName="">
    <a:tblBg/>
    <a:wholeTbl>
      <a:tcTxStyle b="off" i="off">
        <a:font>
          <a:latin typeface="Calibri"/>
          <a:ea typeface="Calibri"/>
          <a:cs typeface="Calibri"/>
        </a:font>
        <a:srgbClr val="000000"/>
      </a:tcTxStyle>
      <a:tcStyle>
        <a:tcBdr>
          <a:left>
            <a:ln w="25400" cap="flat">
              <a:solidFill>
                <a:srgbClr val="FFFFFF"/>
              </a:solidFill>
              <a:prstDash val="solid"/>
              <a:round/>
            </a:ln>
          </a:left>
          <a:right>
            <a:ln w="25400" cap="flat">
              <a:solidFill>
                <a:srgbClr val="FFFFFF"/>
              </a:solidFill>
              <a:prstDash val="solid"/>
              <a:round/>
            </a:ln>
          </a:right>
          <a:top>
            <a:ln w="25400" cap="flat">
              <a:solidFill>
                <a:srgbClr val="FFFFFF"/>
              </a:solidFill>
              <a:prstDash val="solid"/>
              <a:round/>
            </a:ln>
          </a:top>
          <a:bottom>
            <a:ln w="25400" cap="flat">
              <a:solidFill>
                <a:srgbClr val="FFFFFF"/>
              </a:solidFill>
              <a:prstDash val="solid"/>
              <a:round/>
            </a:ln>
          </a:bottom>
          <a:insideH>
            <a:ln w="25400" cap="flat">
              <a:solidFill>
                <a:srgbClr val="FFFFFF"/>
              </a:solidFill>
              <a:prstDash val="solid"/>
              <a:round/>
            </a:ln>
          </a:insideH>
          <a:insideV>
            <a:ln w="254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CACACA"/>
          </a:solidFill>
        </a:fill>
      </a:tcStyle>
    </a:wholeTbl>
    <a:band2H>
      <a:tcTxStyle/>
      <a:tcStyle>
        <a:tcBdr/>
        <a:fill>
          <a:solidFill>
            <a:srgbClr val="E6E6E6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25400" cap="flat">
              <a:solidFill>
                <a:srgbClr val="FFFFFF"/>
              </a:solidFill>
              <a:prstDash val="solid"/>
              <a:round/>
            </a:ln>
          </a:left>
          <a:right>
            <a:ln w="25400" cap="flat">
              <a:solidFill>
                <a:srgbClr val="FFFFFF"/>
              </a:solidFill>
              <a:prstDash val="solid"/>
              <a:round/>
            </a:ln>
          </a:right>
          <a:top>
            <a:ln w="25400" cap="flat">
              <a:solidFill>
                <a:srgbClr val="FFFFFF"/>
              </a:solidFill>
              <a:prstDash val="solid"/>
              <a:round/>
            </a:ln>
          </a:top>
          <a:bottom>
            <a:ln w="25400" cap="flat">
              <a:solidFill>
                <a:srgbClr val="FFFFFF"/>
              </a:solidFill>
              <a:prstDash val="solid"/>
              <a:round/>
            </a:ln>
          </a:bottom>
          <a:insideH>
            <a:ln w="25400" cap="flat">
              <a:solidFill>
                <a:srgbClr val="FFFFFF"/>
              </a:solidFill>
              <a:prstDash val="solid"/>
              <a:round/>
            </a:ln>
          </a:insideH>
          <a:insideV>
            <a:ln w="254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25400" cap="flat">
              <a:solidFill>
                <a:srgbClr val="FFFFFF"/>
              </a:solidFill>
              <a:prstDash val="solid"/>
              <a:round/>
            </a:ln>
          </a:left>
          <a:right>
            <a:ln w="25400" cap="flat">
              <a:solidFill>
                <a:srgbClr val="FFFFFF"/>
              </a:solidFill>
              <a:prstDash val="solid"/>
              <a:round/>
            </a:ln>
          </a:right>
          <a:top>
            <a:ln w="76200" cap="flat">
              <a:solidFill>
                <a:srgbClr val="FFFFFF"/>
              </a:solidFill>
              <a:prstDash val="solid"/>
              <a:round/>
            </a:ln>
          </a:top>
          <a:bottom>
            <a:ln w="25400" cap="flat">
              <a:solidFill>
                <a:srgbClr val="FFFFFF"/>
              </a:solidFill>
              <a:prstDash val="solid"/>
              <a:round/>
            </a:ln>
          </a:bottom>
          <a:insideH>
            <a:ln w="25400" cap="flat">
              <a:solidFill>
                <a:srgbClr val="FFFFFF"/>
              </a:solidFill>
              <a:prstDash val="solid"/>
              <a:round/>
            </a:ln>
          </a:insideH>
          <a:insideV>
            <a:ln w="254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25400" cap="flat">
              <a:solidFill>
                <a:srgbClr val="FFFFFF"/>
              </a:solidFill>
              <a:prstDash val="solid"/>
              <a:round/>
            </a:ln>
          </a:left>
          <a:right>
            <a:ln w="25400" cap="flat">
              <a:solidFill>
                <a:srgbClr val="FFFFFF"/>
              </a:solidFill>
              <a:prstDash val="solid"/>
              <a:round/>
            </a:ln>
          </a:right>
          <a:top>
            <a:ln w="25400" cap="flat">
              <a:solidFill>
                <a:srgbClr val="FFFFFF"/>
              </a:solidFill>
              <a:prstDash val="solid"/>
              <a:round/>
            </a:ln>
          </a:top>
          <a:bottom>
            <a:ln w="76200" cap="flat">
              <a:solidFill>
                <a:srgbClr val="FFFFFF"/>
              </a:solidFill>
              <a:prstDash val="solid"/>
              <a:round/>
            </a:ln>
          </a:bottom>
          <a:insideH>
            <a:ln w="25400" cap="flat">
              <a:solidFill>
                <a:srgbClr val="FFFFFF"/>
              </a:solidFill>
              <a:prstDash val="solid"/>
              <a:round/>
            </a:ln>
          </a:insideH>
          <a:insideV>
            <a:ln w="254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firstRow>
  </a:tblStyle>
  <a:tblStyle styleId="{2708684C-4D16-4618-839F-0558EEFCDFE6}" styleName="">
    <a:tblBg/>
    <a:wholeTbl>
      <a:tcTxStyle b="off" i="off">
        <a:font>
          <a:latin typeface="Calibri"/>
          <a:ea typeface="Calibri"/>
          <a:cs typeface="Calibri"/>
        </a:font>
        <a:srgbClr val="000000"/>
      </a:tcTxStyle>
      <a:tcStyle>
        <a:tcBdr>
          <a:left>
            <a:ln w="25400" cap="flat">
              <a:solidFill>
                <a:srgbClr val="000000"/>
              </a:solidFill>
              <a:prstDash val="solid"/>
              <a:round/>
            </a:ln>
          </a:left>
          <a:right>
            <a:ln w="25400" cap="flat">
              <a:solidFill>
                <a:srgbClr val="000000"/>
              </a:solidFill>
              <a:prstDash val="solid"/>
              <a:round/>
            </a:ln>
          </a:right>
          <a:top>
            <a:ln w="254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25400" cap="flat">
              <a:solidFill>
                <a:srgbClr val="000000"/>
              </a:solidFill>
              <a:prstDash val="solid"/>
              <a:round/>
            </a:ln>
          </a:insideH>
          <a:insideV>
            <a:ln w="25400" cap="flat">
              <a:solidFill>
                <a:srgbClr val="000000"/>
              </a:solidFill>
              <a:prstDash val="solid"/>
              <a:round/>
            </a:ln>
          </a:insideV>
        </a:tcBdr>
        <a:fill>
          <a:solidFill>
            <a:srgbClr val="000000">
              <a:alpha val="20000"/>
            </a:srgbClr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000000"/>
      </a:tcTxStyle>
      <a:tcStyle>
        <a:tcBdr>
          <a:left>
            <a:ln w="25400" cap="flat">
              <a:solidFill>
                <a:srgbClr val="000000"/>
              </a:solidFill>
              <a:prstDash val="solid"/>
              <a:round/>
            </a:ln>
          </a:left>
          <a:right>
            <a:ln w="25400" cap="flat">
              <a:solidFill>
                <a:srgbClr val="000000"/>
              </a:solidFill>
              <a:prstDash val="solid"/>
              <a:round/>
            </a:ln>
          </a:right>
          <a:top>
            <a:ln w="254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25400" cap="flat">
              <a:solidFill>
                <a:srgbClr val="000000"/>
              </a:solidFill>
              <a:prstDash val="solid"/>
              <a:round/>
            </a:ln>
          </a:insideH>
          <a:insideV>
            <a:ln w="25400" cap="flat">
              <a:solidFill>
                <a:srgbClr val="000000"/>
              </a:solidFill>
              <a:prstDash val="solid"/>
              <a:round/>
            </a:ln>
          </a:insideV>
        </a:tcBdr>
        <a:fill>
          <a:solidFill>
            <a:srgbClr val="000000">
              <a:alpha val="20000"/>
            </a:srgbClr>
          </a:solidFill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000000"/>
      </a:tcTxStyle>
      <a:tcStyle>
        <a:tcBdr>
          <a:left>
            <a:ln w="25400" cap="flat">
              <a:solidFill>
                <a:srgbClr val="000000"/>
              </a:solidFill>
              <a:prstDash val="solid"/>
              <a:round/>
            </a:ln>
          </a:left>
          <a:right>
            <a:ln w="25400" cap="flat">
              <a:solidFill>
                <a:srgbClr val="000000"/>
              </a:solidFill>
              <a:prstDash val="solid"/>
              <a:round/>
            </a:ln>
          </a:right>
          <a:top>
            <a:ln w="1016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25400" cap="flat">
              <a:solidFill>
                <a:srgbClr val="000000"/>
              </a:solidFill>
              <a:prstDash val="solid"/>
              <a:round/>
            </a:ln>
          </a:insideH>
          <a:insideV>
            <a:ln w="25400" cap="flat">
              <a:solidFill>
                <a:srgbClr val="000000"/>
              </a:solidFill>
              <a:prstDash val="solid"/>
              <a:round/>
            </a:ln>
          </a:insideV>
        </a:tcBdr>
        <a:fill>
          <a:noFill/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000000"/>
      </a:tcTxStyle>
      <a:tcStyle>
        <a:tcBdr>
          <a:left>
            <a:ln w="25400" cap="flat">
              <a:solidFill>
                <a:srgbClr val="000000"/>
              </a:solidFill>
              <a:prstDash val="solid"/>
              <a:round/>
            </a:ln>
          </a:left>
          <a:right>
            <a:ln w="25400" cap="flat">
              <a:solidFill>
                <a:srgbClr val="000000"/>
              </a:solidFill>
              <a:prstDash val="solid"/>
              <a:round/>
            </a:ln>
          </a:right>
          <a:top>
            <a:ln w="25400" cap="flat">
              <a:solidFill>
                <a:srgbClr val="000000"/>
              </a:solidFill>
              <a:prstDash val="solid"/>
              <a:round/>
            </a:ln>
          </a:top>
          <a:bottom>
            <a:ln w="50800" cap="flat">
              <a:solidFill>
                <a:srgbClr val="000000"/>
              </a:solidFill>
              <a:prstDash val="solid"/>
              <a:round/>
            </a:ln>
          </a:bottom>
          <a:insideH>
            <a:ln w="25400" cap="flat">
              <a:solidFill>
                <a:srgbClr val="000000"/>
              </a:solidFill>
              <a:prstDash val="solid"/>
              <a:round/>
            </a:ln>
          </a:insideH>
          <a:insideV>
            <a:ln w="25400" cap="flat">
              <a:solidFill>
                <a:srgbClr val="000000"/>
              </a:solidFill>
              <a:prstDash val="solid"/>
              <a:round/>
            </a:ln>
          </a:insideV>
        </a:tcBdr>
        <a:fill>
          <a:noFill/>
        </a:fill>
      </a:tcStyle>
    </a:firstRow>
  </a:tblStyle>
  <a:tblStyle styleId="{5940675A-B579-460E-94D1-54222C63F5DA}" styleName="Nenhum Estilo, Grade de Tabe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Estilo Claro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C083E6E3-FA7D-4D7B-A595-EF9225AFEA82}" styleName="Estilo Claro 1 - Ênfase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E3FDE45-AF77-4B5C-9715-49D594BDF05E}" styleName="Estilo Claro 1 - Ênfase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2449" autoAdjust="0"/>
  </p:normalViewPr>
  <p:slideViewPr>
    <p:cSldViewPr snapToGrid="0">
      <p:cViewPr>
        <p:scale>
          <a:sx n="50" d="100"/>
          <a:sy n="50" d="100"/>
        </p:scale>
        <p:origin x="-870" y="-180"/>
      </p:cViewPr>
      <p:guideLst>
        <p:guide orient="horz" pos="4320"/>
        <p:guide pos="76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21" Type="http://schemas.openxmlformats.org/officeDocument/2006/relationships/slide" Target="slides/slide18.xml"/><Relationship Id="rId34" Type="http://schemas.openxmlformats.org/officeDocument/2006/relationships/presProps" Target="pres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commentAuthors" Target="commentAuthors.xml"/><Relationship Id="rId38" Type="http://schemas.microsoft.com/office/2015/10/relationships/revisionInfo" Target="revisionInfo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tags" Target="tags/tag1.xml"/><Relationship Id="rId37" Type="http://schemas.openxmlformats.org/officeDocument/2006/relationships/tableStyles" Target="tableStyle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theme" Target="theme/theme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handoutMaster" Target="handoutMasters/handout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notesMaster" Target="notesMasters/notesMaster1.xml"/><Relationship Id="rId35" Type="http://schemas.openxmlformats.org/officeDocument/2006/relationships/viewProps" Target="viewProps.xml"/><Relationship Id="rId8" Type="http://schemas.openxmlformats.org/officeDocument/2006/relationships/slide" Target="slides/slide5.xml"/><Relationship Id="rId3" Type="http://schemas.openxmlformats.org/officeDocument/2006/relationships/slideMaster" Target="slideMasters/slideMaster3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Style" Target="style1.xml"/><Relationship Id="rId2" Type="http://schemas.microsoft.com/office/2011/relationships/chartColorStyle" Target="colors1.xml"/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0620337056218142E-2"/>
          <c:y val="1.5797929442172509E-2"/>
          <c:w val="0.92869261344883647"/>
          <c:h val="0.9510982274994569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Planilha1!$B$1</c:f>
              <c:strCache>
                <c:ptCount val="1"/>
                <c:pt idx="0">
                  <c:v>Série 1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  <a:ln>
              <a:solidFill>
                <a:srgbClr val="F44F15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8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Planilha1!$A$2:$A$9</c:f>
              <c:numCache>
                <c:formatCode>General</c:formatCode>
                <c:ptCount val="8"/>
              </c:numCache>
            </c:numRef>
          </c:cat>
          <c:val>
            <c:numRef>
              <c:f>Planilha1!$B$2:$B$9</c:f>
              <c:numCache>
                <c:formatCode>0%</c:formatCode>
                <c:ptCount val="8"/>
                <c:pt idx="0">
                  <c:v>0.4</c:v>
                </c:pt>
                <c:pt idx="1">
                  <c:v>0.44</c:v>
                </c:pt>
                <c:pt idx="2">
                  <c:v>0.48</c:v>
                </c:pt>
                <c:pt idx="3">
                  <c:v>0.51</c:v>
                </c:pt>
                <c:pt idx="4">
                  <c:v>0.65</c:v>
                </c:pt>
                <c:pt idx="5">
                  <c:v>0.79</c:v>
                </c:pt>
                <c:pt idx="6">
                  <c:v>0.85</c:v>
                </c:pt>
                <c:pt idx="7">
                  <c:v>0.9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C78A-42A9-A3CC-CF9AEC1E2A9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axId val="196367872"/>
        <c:axId val="139594560"/>
      </c:barChart>
      <c:catAx>
        <c:axId val="19636787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39594560"/>
        <c:crosses val="autoZero"/>
        <c:auto val="1"/>
        <c:lblAlgn val="ctr"/>
        <c:lblOffset val="100"/>
        <c:noMultiLvlLbl val="0"/>
      </c:catAx>
      <c:valAx>
        <c:axId val="139594560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963678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6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6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6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>
            <a:extLst>
              <a:ext uri="{FF2B5EF4-FFF2-40B4-BE49-F238E27FC236}">
                <a16:creationId xmlns:a16="http://schemas.microsoft.com/office/drawing/2014/main" xmlns="" id="{BB65AEB7-E967-4C99-B1D1-94700A25005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xmlns="" id="{B484339C-8AE0-4AB6-A89A-59A6B7204AB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C6E65F6-6E7A-4A4C-920A-AB87435F63A3}" type="datetimeFigureOut">
              <a:rPr lang="pt-BR" smtClean="0"/>
              <a:t>09/11/2021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xmlns="" id="{6A97299A-652F-4A8F-97A0-C3A5B7A7AEF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xmlns="" id="{8421D5CC-7DE2-449D-8A39-F427ABB00F3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502D584-6A6A-43AC-A328-119F320B075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6031930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Shape 9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92" name="Shape 92"/>
          <p:cNvSpPr>
            <a:spLocks noGrp="1"/>
          </p:cNvSpPr>
          <p:nvPr>
            <p:ph type="body" sz="quarter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40622951"/>
      </p:ext>
    </p:extLst>
  </p:cSld>
  <p:clrMap bg1="lt1" tx1="dk1" bg2="lt2" tx2="dk2" accent1="accent1" accent2="accent2" accent3="accent3" accent4="accent4" accent5="accent5" accent6="accent6" hlink="hlink" folHlink="folHlink"/>
  <p:notesStyle>
    <a:lvl1pPr defTabSz="1828800" latinLnBrk="0">
      <a:defRPr sz="2400">
        <a:latin typeface="Calibri"/>
        <a:ea typeface="Calibri"/>
        <a:cs typeface="Calibri"/>
        <a:sym typeface="Calibri"/>
      </a:defRPr>
    </a:lvl1pPr>
    <a:lvl2pPr indent="228600" defTabSz="1828800" latinLnBrk="0">
      <a:defRPr sz="2400">
        <a:latin typeface="Calibri"/>
        <a:ea typeface="Calibri"/>
        <a:cs typeface="Calibri"/>
        <a:sym typeface="Calibri"/>
      </a:defRPr>
    </a:lvl2pPr>
    <a:lvl3pPr indent="457200" defTabSz="1828800" latinLnBrk="0">
      <a:defRPr sz="2400">
        <a:latin typeface="Calibri"/>
        <a:ea typeface="Calibri"/>
        <a:cs typeface="Calibri"/>
        <a:sym typeface="Calibri"/>
      </a:defRPr>
    </a:lvl3pPr>
    <a:lvl4pPr indent="685800" defTabSz="1828800" latinLnBrk="0">
      <a:defRPr sz="2400">
        <a:latin typeface="Calibri"/>
        <a:ea typeface="Calibri"/>
        <a:cs typeface="Calibri"/>
        <a:sym typeface="Calibri"/>
      </a:defRPr>
    </a:lvl4pPr>
    <a:lvl5pPr indent="914400" defTabSz="1828800" latinLnBrk="0">
      <a:defRPr sz="2400">
        <a:latin typeface="Calibri"/>
        <a:ea typeface="Calibri"/>
        <a:cs typeface="Calibri"/>
        <a:sym typeface="Calibri"/>
      </a:defRPr>
    </a:lvl5pPr>
    <a:lvl6pPr indent="1143000" defTabSz="1828800" latinLnBrk="0">
      <a:defRPr sz="2400">
        <a:latin typeface="Calibri"/>
        <a:ea typeface="Calibri"/>
        <a:cs typeface="Calibri"/>
        <a:sym typeface="Calibri"/>
      </a:defRPr>
    </a:lvl6pPr>
    <a:lvl7pPr indent="1371600" defTabSz="1828800" latinLnBrk="0">
      <a:defRPr sz="2400">
        <a:latin typeface="Calibri"/>
        <a:ea typeface="Calibri"/>
        <a:cs typeface="Calibri"/>
        <a:sym typeface="Calibri"/>
      </a:defRPr>
    </a:lvl7pPr>
    <a:lvl8pPr indent="1600200" defTabSz="1828800" latinLnBrk="0">
      <a:defRPr sz="2400">
        <a:latin typeface="Calibri"/>
        <a:ea typeface="Calibri"/>
        <a:cs typeface="Calibri"/>
        <a:sym typeface="Calibri"/>
      </a:defRPr>
    </a:lvl8pPr>
    <a:lvl9pPr indent="1828800" defTabSz="1828800" latinLnBrk="0">
      <a:defRPr sz="2400">
        <a:latin typeface="Calibri"/>
        <a:ea typeface="Calibri"/>
        <a:cs typeface="Calibri"/>
        <a:sym typeface="Calibri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EEC9171-B6E4-4623-8AC8-C4FE01C68DDF}" type="slidenum">
              <a:rPr lang="pt-BR" smtClean="0"/>
              <a:t>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248500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EEC9171-B6E4-4623-8AC8-C4FE01C68DDF}" type="slidenum">
              <a:rPr lang="pt-BR" smtClean="0"/>
              <a:t>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646507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EEC9171-B6E4-4623-8AC8-C4FE01C68DDF}" type="slidenum">
              <a:rPr lang="pt-BR" smtClean="0"/>
              <a:t>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186249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EEC9171-B6E4-4623-8AC8-C4FE01C68DDF}" type="slidenum">
              <a:rPr lang="pt-BR" smtClean="0"/>
              <a:t>1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6699223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9227490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5168562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474833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hyperlink" Target="http://www.voltrobotics.com.br/" TargetMode="External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12.xml"/><Relationship Id="rId7" Type="http://schemas.openxmlformats.org/officeDocument/2006/relationships/hyperlink" Target="http://www.voltrobotics.com.br/" TargetMode="Externa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16.xml"/><Relationship Id="rId7" Type="http://schemas.openxmlformats.org/officeDocument/2006/relationships/hyperlink" Target="http://www.voltrobotics.com.br/" TargetMode="Externa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4.png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hyperlink" Target="http://www.voltrobotics.com.br/" TargetMode="External"/><Relationship Id="rId3" Type="http://schemas.openxmlformats.org/officeDocument/2006/relationships/tags" Target="../tags/tag18.xml"/><Relationship Id="rId7" Type="http://schemas.openxmlformats.org/officeDocument/2006/relationships/image" Target="../media/image5.png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.bin"/><Relationship Id="rId10" Type="http://schemas.openxmlformats.org/officeDocument/2006/relationships/image" Target="../media/image4.png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3.png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hyperlink" Target="http://www.voltrobotics.com.br/" TargetMode="External"/><Relationship Id="rId3" Type="http://schemas.openxmlformats.org/officeDocument/2006/relationships/tags" Target="../tags/tag20.xml"/><Relationship Id="rId7" Type="http://schemas.openxmlformats.org/officeDocument/2006/relationships/image" Target="../media/image5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.bin"/><Relationship Id="rId10" Type="http://schemas.openxmlformats.org/officeDocument/2006/relationships/image" Target="../media/image4.png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3.png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1.bin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5.xml"/><Relationship Id="rId7" Type="http://schemas.openxmlformats.org/officeDocument/2006/relationships/hyperlink" Target="http://www.voltrobotics.com.br/" TargetMode="Externa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4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5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o do Título"/>
          <p:cNvSpPr>
            <a:spLocks noGrp="1"/>
          </p:cNvSpPr>
          <p:nvPr>
            <p:ph type="title"/>
          </p:nvPr>
        </p:nvSpPr>
        <p:spPr>
          <a:xfrm>
            <a:off x="3048000" y="2244725"/>
            <a:ext cx="18288000" cy="4775201"/>
          </a:xfrm>
          <a:prstGeom prst="rect">
            <a:avLst/>
          </a:prstGeom>
        </p:spPr>
        <p:txBody>
          <a:bodyPr anchor="b"/>
          <a:lstStyle>
            <a:lvl1pPr algn="ctr">
              <a:defRPr sz="12000"/>
            </a:lvl1pPr>
          </a:lstStyle>
          <a:p>
            <a:r>
              <a:t>Texto do Título</a:t>
            </a:r>
          </a:p>
        </p:txBody>
      </p:sp>
      <p:sp>
        <p:nvSpPr>
          <p:cNvPr id="12" name="Nível de Corpo Um…"/>
          <p:cNvSpPr>
            <a:spLocks noGrp="1"/>
          </p:cNvSpPr>
          <p:nvPr>
            <p:ph type="body" sz="quarter" idx="1"/>
          </p:nvPr>
        </p:nvSpPr>
        <p:spPr>
          <a:xfrm>
            <a:off x="3048000" y="7204075"/>
            <a:ext cx="18288000" cy="3311525"/>
          </a:xfrm>
          <a:prstGeom prst="rect">
            <a:avLst/>
          </a:prstGeom>
        </p:spPr>
        <p:txBody>
          <a:bodyPr/>
          <a:lstStyle>
            <a:lvl1pPr marL="0" indent="0" algn="ctr">
              <a:buSzTx/>
              <a:buFontTx/>
              <a:buNone/>
              <a:defRPr sz="4800"/>
            </a:lvl1pPr>
            <a:lvl2pPr marL="0" indent="457200" algn="ctr">
              <a:buSzTx/>
              <a:buFontTx/>
              <a:buNone/>
              <a:defRPr sz="4800"/>
            </a:lvl2pPr>
            <a:lvl3pPr marL="0" indent="914400" algn="ctr">
              <a:buSzTx/>
              <a:buFontTx/>
              <a:buNone/>
              <a:defRPr sz="4800"/>
            </a:lvl3pPr>
            <a:lvl4pPr marL="0" indent="1371600" algn="ctr">
              <a:buSzTx/>
              <a:buFontTx/>
              <a:buNone/>
              <a:defRPr sz="4800"/>
            </a:lvl4pPr>
            <a:lvl5pPr marL="0" indent="1828800" algn="ctr">
              <a:buSzTx/>
              <a:buFontTx/>
              <a:buNone/>
              <a:defRPr sz="4800"/>
            </a:lvl5pPr>
          </a:lstStyle>
          <a:p>
            <a:r>
              <a:t>Nível de Corpo Um</a:t>
            </a:r>
          </a:p>
          <a:p>
            <a:pPr lvl="1"/>
            <a:r>
              <a:t>Nível de Corpo Dois</a:t>
            </a:r>
          </a:p>
          <a:p>
            <a:pPr lvl="2"/>
            <a:r>
              <a:t>Nível de Corpo Três</a:t>
            </a:r>
          </a:p>
          <a:p>
            <a:pPr lvl="3"/>
            <a:r>
              <a:t>Nível de Corpo Quatro</a:t>
            </a:r>
          </a:p>
          <a:p>
            <a:pPr lvl="4"/>
            <a:r>
              <a:t>Nível de Corpo Cinco</a:t>
            </a:r>
          </a:p>
        </p:txBody>
      </p:sp>
      <p:sp>
        <p:nvSpPr>
          <p:cNvPr id="13" name="Número do Slide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ítulo e Obje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>
            <a:extLst>
              <a:ext uri="{FF2B5EF4-FFF2-40B4-BE49-F238E27FC236}">
                <a16:creationId xmlns:a16="http://schemas.microsoft.com/office/drawing/2014/main" xmlns="" id="{BD2D1BD2-1AAF-4C1B-8A74-93AE7A98D57E}"/>
              </a:ext>
            </a:extLst>
          </p:cNvPr>
          <p:cNvSpPr/>
          <p:nvPr userDrawn="1"/>
        </p:nvSpPr>
        <p:spPr>
          <a:xfrm>
            <a:off x="2" y="0"/>
            <a:ext cx="24384000" cy="1371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3" name="Retângulo 2">
            <a:extLst>
              <a:ext uri="{FF2B5EF4-FFF2-40B4-BE49-F238E27FC236}">
                <a16:creationId xmlns:a16="http://schemas.microsoft.com/office/drawing/2014/main" xmlns="" id="{68DFCC05-F939-474B-9B70-FDCEA25C1271}"/>
              </a:ext>
            </a:extLst>
          </p:cNvPr>
          <p:cNvSpPr/>
          <p:nvPr userDrawn="1"/>
        </p:nvSpPr>
        <p:spPr>
          <a:xfrm>
            <a:off x="1" y="0"/>
            <a:ext cx="24383998" cy="1517904"/>
          </a:xfrm>
          <a:prstGeom prst="rect">
            <a:avLst/>
          </a:prstGeom>
          <a:solidFill>
            <a:srgbClr val="F44F1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4" name="Elipse 3">
            <a:extLst>
              <a:ext uri="{FF2B5EF4-FFF2-40B4-BE49-F238E27FC236}">
                <a16:creationId xmlns:a16="http://schemas.microsoft.com/office/drawing/2014/main" xmlns="" id="{9AE01A28-521F-4571-BE2B-24A26CE26C30}"/>
              </a:ext>
            </a:extLst>
          </p:cNvPr>
          <p:cNvSpPr/>
          <p:nvPr userDrawn="1"/>
        </p:nvSpPr>
        <p:spPr>
          <a:xfrm>
            <a:off x="22179179" y="421919"/>
            <a:ext cx="2046514" cy="204651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</p:spTree>
    <p:extLst>
      <p:ext uri="{BB962C8B-B14F-4D97-AF65-F5344CB8AC3E}">
        <p14:creationId xmlns:p14="http://schemas.microsoft.com/office/powerpoint/2010/main" val="223862097"/>
      </p:ext>
    </p:extLst>
  </p:cSld>
  <p:clrMapOvr>
    <a:masterClrMapping/>
  </p:clrMapOvr>
  <p:transition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ítulo e Obje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2">
            <a:extLst>
              <a:ext uri="{FF2B5EF4-FFF2-40B4-BE49-F238E27FC236}">
                <a16:creationId xmlns:a16="http://schemas.microsoft.com/office/drawing/2014/main" xmlns="" id="{CA5F7A57-6202-405A-917F-710B685AD84A}"/>
              </a:ext>
            </a:extLst>
          </p:cNvPr>
          <p:cNvSpPr/>
          <p:nvPr userDrawn="1"/>
        </p:nvSpPr>
        <p:spPr>
          <a:xfrm>
            <a:off x="1" y="0"/>
            <a:ext cx="24383998" cy="13716332"/>
          </a:xfrm>
          <a:prstGeom prst="rect">
            <a:avLst/>
          </a:prstGeom>
          <a:solidFill>
            <a:srgbClr val="F44F15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</p:spTree>
    <p:extLst>
      <p:ext uri="{BB962C8B-B14F-4D97-AF65-F5344CB8AC3E}">
        <p14:creationId xmlns:p14="http://schemas.microsoft.com/office/powerpoint/2010/main" val="2541630277"/>
      </p:ext>
    </p:extLst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ítulo e Obje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Sol atrás de nuvens no céu&#10;&#10;Descrição gerada automaticamente">
            <a:extLst>
              <a:ext uri="{FF2B5EF4-FFF2-40B4-BE49-F238E27FC236}">
                <a16:creationId xmlns:a16="http://schemas.microsoft.com/office/drawing/2014/main" xmlns="" id="{8749E4C2-F3FF-470E-B1CC-6A6C22F5F41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4384000" cy="13716000"/>
          </a:xfrm>
          <a:prstGeom prst="rect">
            <a:avLst/>
          </a:prstGeom>
        </p:spPr>
      </p:pic>
      <p:sp>
        <p:nvSpPr>
          <p:cNvPr id="5" name="Retângulo 4">
            <a:extLst>
              <a:ext uri="{FF2B5EF4-FFF2-40B4-BE49-F238E27FC236}">
                <a16:creationId xmlns:a16="http://schemas.microsoft.com/office/drawing/2014/main" xmlns="" id="{740CC2B9-EEC0-4D57-A7D9-58E0824EDE7F}"/>
              </a:ext>
            </a:extLst>
          </p:cNvPr>
          <p:cNvSpPr/>
          <p:nvPr userDrawn="1"/>
        </p:nvSpPr>
        <p:spPr>
          <a:xfrm>
            <a:off x="0" y="0"/>
            <a:ext cx="24384000" cy="13716000"/>
          </a:xfrm>
          <a:prstGeom prst="rect">
            <a:avLst/>
          </a:prstGeom>
          <a:solidFill>
            <a:srgbClr val="F44F15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xmlns="" id="{FF6080CD-2E43-446C-945A-2D0810BFEB8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8447" y="2224323"/>
            <a:ext cx="7064262" cy="1324550"/>
          </a:xfrm>
          <a:prstGeom prst="rect">
            <a:avLst/>
          </a:prstGeom>
        </p:spPr>
      </p:pic>
      <p:sp>
        <p:nvSpPr>
          <p:cNvPr id="7" name="Elipse 6">
            <a:extLst>
              <a:ext uri="{FF2B5EF4-FFF2-40B4-BE49-F238E27FC236}">
                <a16:creationId xmlns:a16="http://schemas.microsoft.com/office/drawing/2014/main" xmlns="" id="{5B0CCD5D-F8FE-46E9-AFEB-B637263C4177}"/>
              </a:ext>
            </a:extLst>
          </p:cNvPr>
          <p:cNvSpPr/>
          <p:nvPr userDrawn="1"/>
        </p:nvSpPr>
        <p:spPr>
          <a:xfrm>
            <a:off x="6914608" y="1551714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8" name="Elipse 7">
            <a:extLst>
              <a:ext uri="{FF2B5EF4-FFF2-40B4-BE49-F238E27FC236}">
                <a16:creationId xmlns:a16="http://schemas.microsoft.com/office/drawing/2014/main" xmlns="" id="{F453CC41-8AD3-4D5D-9929-6467AB8814B7}"/>
              </a:ext>
            </a:extLst>
          </p:cNvPr>
          <p:cNvSpPr/>
          <p:nvPr userDrawn="1"/>
        </p:nvSpPr>
        <p:spPr>
          <a:xfrm>
            <a:off x="7745684" y="1551714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9" name="Elipse 8">
            <a:extLst>
              <a:ext uri="{FF2B5EF4-FFF2-40B4-BE49-F238E27FC236}">
                <a16:creationId xmlns:a16="http://schemas.microsoft.com/office/drawing/2014/main" xmlns="" id="{9D98699E-645E-4173-9266-81DB3F2D0884}"/>
              </a:ext>
            </a:extLst>
          </p:cNvPr>
          <p:cNvSpPr/>
          <p:nvPr userDrawn="1"/>
        </p:nvSpPr>
        <p:spPr>
          <a:xfrm>
            <a:off x="8576760" y="1551714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10" name="Elipse 9">
            <a:extLst>
              <a:ext uri="{FF2B5EF4-FFF2-40B4-BE49-F238E27FC236}">
                <a16:creationId xmlns:a16="http://schemas.microsoft.com/office/drawing/2014/main" xmlns="" id="{394B2C09-6088-4DB3-B6BE-3C558ABF3121}"/>
              </a:ext>
            </a:extLst>
          </p:cNvPr>
          <p:cNvSpPr/>
          <p:nvPr userDrawn="1"/>
        </p:nvSpPr>
        <p:spPr>
          <a:xfrm>
            <a:off x="9407836" y="1551714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11" name="Elipse 10">
            <a:extLst>
              <a:ext uri="{FF2B5EF4-FFF2-40B4-BE49-F238E27FC236}">
                <a16:creationId xmlns:a16="http://schemas.microsoft.com/office/drawing/2014/main" xmlns="" id="{4A59B7F2-9EF3-4F98-B564-CB9ED8EDD41C}"/>
              </a:ext>
            </a:extLst>
          </p:cNvPr>
          <p:cNvSpPr/>
          <p:nvPr userDrawn="1"/>
        </p:nvSpPr>
        <p:spPr>
          <a:xfrm>
            <a:off x="10238912" y="1551714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12" name="Elipse 11">
            <a:extLst>
              <a:ext uri="{FF2B5EF4-FFF2-40B4-BE49-F238E27FC236}">
                <a16:creationId xmlns:a16="http://schemas.microsoft.com/office/drawing/2014/main" xmlns="" id="{7B6D7B75-9593-49FB-A362-06E63458EA03}"/>
              </a:ext>
            </a:extLst>
          </p:cNvPr>
          <p:cNvSpPr/>
          <p:nvPr userDrawn="1"/>
        </p:nvSpPr>
        <p:spPr>
          <a:xfrm>
            <a:off x="11069988" y="1551714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13" name="Elipse 12">
            <a:extLst>
              <a:ext uri="{FF2B5EF4-FFF2-40B4-BE49-F238E27FC236}">
                <a16:creationId xmlns:a16="http://schemas.microsoft.com/office/drawing/2014/main" xmlns="" id="{373FE88D-30E1-4733-97F1-B2047E02F404}"/>
              </a:ext>
            </a:extLst>
          </p:cNvPr>
          <p:cNvSpPr/>
          <p:nvPr userDrawn="1"/>
        </p:nvSpPr>
        <p:spPr>
          <a:xfrm>
            <a:off x="11901064" y="1551714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14" name="Elipse 13">
            <a:extLst>
              <a:ext uri="{FF2B5EF4-FFF2-40B4-BE49-F238E27FC236}">
                <a16:creationId xmlns:a16="http://schemas.microsoft.com/office/drawing/2014/main" xmlns="" id="{389D2345-4DBF-48A6-BD9D-9F07C187C64E}"/>
              </a:ext>
            </a:extLst>
          </p:cNvPr>
          <p:cNvSpPr/>
          <p:nvPr userDrawn="1"/>
        </p:nvSpPr>
        <p:spPr>
          <a:xfrm>
            <a:off x="12732140" y="1551714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15" name="Elipse 14">
            <a:extLst>
              <a:ext uri="{FF2B5EF4-FFF2-40B4-BE49-F238E27FC236}">
                <a16:creationId xmlns:a16="http://schemas.microsoft.com/office/drawing/2014/main" xmlns="" id="{684788C2-7720-4CB1-A777-52576DDE8307}"/>
              </a:ext>
            </a:extLst>
          </p:cNvPr>
          <p:cNvSpPr/>
          <p:nvPr userDrawn="1"/>
        </p:nvSpPr>
        <p:spPr>
          <a:xfrm>
            <a:off x="13563216" y="1551714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16" name="Elipse 15">
            <a:extLst>
              <a:ext uri="{FF2B5EF4-FFF2-40B4-BE49-F238E27FC236}">
                <a16:creationId xmlns:a16="http://schemas.microsoft.com/office/drawing/2014/main" xmlns="" id="{E5251E5E-4D39-4669-87F4-376CDAEBC799}"/>
              </a:ext>
            </a:extLst>
          </p:cNvPr>
          <p:cNvSpPr/>
          <p:nvPr userDrawn="1"/>
        </p:nvSpPr>
        <p:spPr>
          <a:xfrm>
            <a:off x="14394292" y="1551714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17" name="Elipse 16">
            <a:extLst>
              <a:ext uri="{FF2B5EF4-FFF2-40B4-BE49-F238E27FC236}">
                <a16:creationId xmlns:a16="http://schemas.microsoft.com/office/drawing/2014/main" xmlns="" id="{714D276F-422E-4FDB-A119-2A263712E0D4}"/>
              </a:ext>
            </a:extLst>
          </p:cNvPr>
          <p:cNvSpPr/>
          <p:nvPr userDrawn="1"/>
        </p:nvSpPr>
        <p:spPr>
          <a:xfrm>
            <a:off x="15225368" y="1551714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18" name="Elipse 17">
            <a:extLst>
              <a:ext uri="{FF2B5EF4-FFF2-40B4-BE49-F238E27FC236}">
                <a16:creationId xmlns:a16="http://schemas.microsoft.com/office/drawing/2014/main" xmlns="" id="{58FE1662-284E-40BF-BA92-5264267FD51D}"/>
              </a:ext>
            </a:extLst>
          </p:cNvPr>
          <p:cNvSpPr/>
          <p:nvPr userDrawn="1"/>
        </p:nvSpPr>
        <p:spPr>
          <a:xfrm>
            <a:off x="16056444" y="1551714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19" name="Elipse 18">
            <a:extLst>
              <a:ext uri="{FF2B5EF4-FFF2-40B4-BE49-F238E27FC236}">
                <a16:creationId xmlns:a16="http://schemas.microsoft.com/office/drawing/2014/main" xmlns="" id="{09EADD45-363D-4F23-A36F-7CEA98CE6BCC}"/>
              </a:ext>
            </a:extLst>
          </p:cNvPr>
          <p:cNvSpPr/>
          <p:nvPr userDrawn="1"/>
        </p:nvSpPr>
        <p:spPr>
          <a:xfrm>
            <a:off x="16887520" y="1551714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20" name="Elipse 19">
            <a:extLst>
              <a:ext uri="{FF2B5EF4-FFF2-40B4-BE49-F238E27FC236}">
                <a16:creationId xmlns:a16="http://schemas.microsoft.com/office/drawing/2014/main" xmlns="" id="{503ECEBD-C273-48B8-9C6F-4246848A4FF4}"/>
              </a:ext>
            </a:extLst>
          </p:cNvPr>
          <p:cNvSpPr/>
          <p:nvPr userDrawn="1"/>
        </p:nvSpPr>
        <p:spPr>
          <a:xfrm>
            <a:off x="17718596" y="1551714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21" name="Elipse 20">
            <a:extLst>
              <a:ext uri="{FF2B5EF4-FFF2-40B4-BE49-F238E27FC236}">
                <a16:creationId xmlns:a16="http://schemas.microsoft.com/office/drawing/2014/main" xmlns="" id="{FC89E064-D76E-4034-BC14-1F63B29F89F0}"/>
              </a:ext>
            </a:extLst>
          </p:cNvPr>
          <p:cNvSpPr/>
          <p:nvPr userDrawn="1"/>
        </p:nvSpPr>
        <p:spPr>
          <a:xfrm>
            <a:off x="18549672" y="1551714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22" name="Elipse 21">
            <a:extLst>
              <a:ext uri="{FF2B5EF4-FFF2-40B4-BE49-F238E27FC236}">
                <a16:creationId xmlns:a16="http://schemas.microsoft.com/office/drawing/2014/main" xmlns="" id="{2B09BFAE-607C-4B49-9322-576F3550E2A7}"/>
              </a:ext>
            </a:extLst>
          </p:cNvPr>
          <p:cNvSpPr/>
          <p:nvPr userDrawn="1"/>
        </p:nvSpPr>
        <p:spPr>
          <a:xfrm>
            <a:off x="19380748" y="1551714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23" name="Elipse 22">
            <a:extLst>
              <a:ext uri="{FF2B5EF4-FFF2-40B4-BE49-F238E27FC236}">
                <a16:creationId xmlns:a16="http://schemas.microsoft.com/office/drawing/2014/main" xmlns="" id="{8C5174E2-5337-474D-A3AA-CB0F14611F9A}"/>
              </a:ext>
            </a:extLst>
          </p:cNvPr>
          <p:cNvSpPr/>
          <p:nvPr userDrawn="1"/>
        </p:nvSpPr>
        <p:spPr>
          <a:xfrm>
            <a:off x="20211824" y="1551714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24" name="Elipse 23">
            <a:extLst>
              <a:ext uri="{FF2B5EF4-FFF2-40B4-BE49-F238E27FC236}">
                <a16:creationId xmlns:a16="http://schemas.microsoft.com/office/drawing/2014/main" xmlns="" id="{C6457CDC-DDC9-4507-B77C-36757E5E0D0A}"/>
              </a:ext>
            </a:extLst>
          </p:cNvPr>
          <p:cNvSpPr/>
          <p:nvPr userDrawn="1"/>
        </p:nvSpPr>
        <p:spPr>
          <a:xfrm>
            <a:off x="21042900" y="1551714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25" name="Elipse 24">
            <a:extLst>
              <a:ext uri="{FF2B5EF4-FFF2-40B4-BE49-F238E27FC236}">
                <a16:creationId xmlns:a16="http://schemas.microsoft.com/office/drawing/2014/main" xmlns="" id="{4C76AD3F-CCF0-4DFF-A1E2-352A299B3853}"/>
              </a:ext>
            </a:extLst>
          </p:cNvPr>
          <p:cNvSpPr/>
          <p:nvPr userDrawn="1"/>
        </p:nvSpPr>
        <p:spPr>
          <a:xfrm>
            <a:off x="21873976" y="1551714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26" name="Elipse 25">
            <a:extLst>
              <a:ext uri="{FF2B5EF4-FFF2-40B4-BE49-F238E27FC236}">
                <a16:creationId xmlns:a16="http://schemas.microsoft.com/office/drawing/2014/main" xmlns="" id="{EB820E7C-2AA6-4B5A-8E91-BFC256D825D4}"/>
              </a:ext>
            </a:extLst>
          </p:cNvPr>
          <p:cNvSpPr/>
          <p:nvPr userDrawn="1"/>
        </p:nvSpPr>
        <p:spPr>
          <a:xfrm>
            <a:off x="22705052" y="1551714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27" name="Elipse 26">
            <a:extLst>
              <a:ext uri="{FF2B5EF4-FFF2-40B4-BE49-F238E27FC236}">
                <a16:creationId xmlns:a16="http://schemas.microsoft.com/office/drawing/2014/main" xmlns="" id="{67453B7B-79E4-4017-A5CB-18A3ADC02068}"/>
              </a:ext>
            </a:extLst>
          </p:cNvPr>
          <p:cNvSpPr/>
          <p:nvPr userDrawn="1"/>
        </p:nvSpPr>
        <p:spPr>
          <a:xfrm>
            <a:off x="23536118" y="1551714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28" name="Elipse 27">
            <a:extLst>
              <a:ext uri="{FF2B5EF4-FFF2-40B4-BE49-F238E27FC236}">
                <a16:creationId xmlns:a16="http://schemas.microsoft.com/office/drawing/2014/main" xmlns="" id="{8646640B-34CE-42A6-944E-CCA365213DCF}"/>
              </a:ext>
            </a:extLst>
          </p:cNvPr>
          <p:cNvSpPr/>
          <p:nvPr userDrawn="1"/>
        </p:nvSpPr>
        <p:spPr>
          <a:xfrm>
            <a:off x="12153610" y="2744796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29" name="Elipse 28">
            <a:extLst>
              <a:ext uri="{FF2B5EF4-FFF2-40B4-BE49-F238E27FC236}">
                <a16:creationId xmlns:a16="http://schemas.microsoft.com/office/drawing/2014/main" xmlns="" id="{7718146B-2192-46B6-92D7-B8F05D4722A5}"/>
              </a:ext>
            </a:extLst>
          </p:cNvPr>
          <p:cNvSpPr/>
          <p:nvPr userDrawn="1"/>
        </p:nvSpPr>
        <p:spPr>
          <a:xfrm>
            <a:off x="12984686" y="2744796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30" name="Elipse 29">
            <a:extLst>
              <a:ext uri="{FF2B5EF4-FFF2-40B4-BE49-F238E27FC236}">
                <a16:creationId xmlns:a16="http://schemas.microsoft.com/office/drawing/2014/main" xmlns="" id="{582A7B41-8AFE-4FAE-A838-D3329715D0E1}"/>
              </a:ext>
            </a:extLst>
          </p:cNvPr>
          <p:cNvSpPr/>
          <p:nvPr userDrawn="1"/>
        </p:nvSpPr>
        <p:spPr>
          <a:xfrm>
            <a:off x="13815762" y="2744796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31" name="Elipse 30">
            <a:extLst>
              <a:ext uri="{FF2B5EF4-FFF2-40B4-BE49-F238E27FC236}">
                <a16:creationId xmlns:a16="http://schemas.microsoft.com/office/drawing/2014/main" xmlns="" id="{3A6FB0D5-B505-4093-8896-AB6E90253AED}"/>
              </a:ext>
            </a:extLst>
          </p:cNvPr>
          <p:cNvSpPr/>
          <p:nvPr userDrawn="1"/>
        </p:nvSpPr>
        <p:spPr>
          <a:xfrm>
            <a:off x="14646838" y="2744796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32" name="Elipse 31">
            <a:extLst>
              <a:ext uri="{FF2B5EF4-FFF2-40B4-BE49-F238E27FC236}">
                <a16:creationId xmlns:a16="http://schemas.microsoft.com/office/drawing/2014/main" xmlns="" id="{FA1CA350-F454-468E-81B2-A45C9790613B}"/>
              </a:ext>
            </a:extLst>
          </p:cNvPr>
          <p:cNvSpPr/>
          <p:nvPr userDrawn="1"/>
        </p:nvSpPr>
        <p:spPr>
          <a:xfrm>
            <a:off x="15477914" y="2744796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33" name="Elipse 32">
            <a:extLst>
              <a:ext uri="{FF2B5EF4-FFF2-40B4-BE49-F238E27FC236}">
                <a16:creationId xmlns:a16="http://schemas.microsoft.com/office/drawing/2014/main" xmlns="" id="{520071F2-7B56-4F49-A155-AE12B7E17D90}"/>
              </a:ext>
            </a:extLst>
          </p:cNvPr>
          <p:cNvSpPr/>
          <p:nvPr userDrawn="1"/>
        </p:nvSpPr>
        <p:spPr>
          <a:xfrm>
            <a:off x="16308990" y="2744796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34" name="Elipse 33">
            <a:extLst>
              <a:ext uri="{FF2B5EF4-FFF2-40B4-BE49-F238E27FC236}">
                <a16:creationId xmlns:a16="http://schemas.microsoft.com/office/drawing/2014/main" xmlns="" id="{8C695880-C7F4-4D77-9B70-C196DBC1484A}"/>
              </a:ext>
            </a:extLst>
          </p:cNvPr>
          <p:cNvSpPr/>
          <p:nvPr userDrawn="1"/>
        </p:nvSpPr>
        <p:spPr>
          <a:xfrm>
            <a:off x="17140066" y="2744796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35" name="Elipse 34">
            <a:extLst>
              <a:ext uri="{FF2B5EF4-FFF2-40B4-BE49-F238E27FC236}">
                <a16:creationId xmlns:a16="http://schemas.microsoft.com/office/drawing/2014/main" xmlns="" id="{A27C78FD-C0B5-4270-8E81-406F0C658793}"/>
              </a:ext>
            </a:extLst>
          </p:cNvPr>
          <p:cNvSpPr/>
          <p:nvPr userDrawn="1"/>
        </p:nvSpPr>
        <p:spPr>
          <a:xfrm>
            <a:off x="17971142" y="2744796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36" name="Elipse 35">
            <a:extLst>
              <a:ext uri="{FF2B5EF4-FFF2-40B4-BE49-F238E27FC236}">
                <a16:creationId xmlns:a16="http://schemas.microsoft.com/office/drawing/2014/main" xmlns="" id="{FE2DAAA0-0B36-4FA3-B635-6A9EFA50964F}"/>
              </a:ext>
            </a:extLst>
          </p:cNvPr>
          <p:cNvSpPr/>
          <p:nvPr userDrawn="1"/>
        </p:nvSpPr>
        <p:spPr>
          <a:xfrm>
            <a:off x="18802218" y="2744796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37" name="Elipse 36">
            <a:extLst>
              <a:ext uri="{FF2B5EF4-FFF2-40B4-BE49-F238E27FC236}">
                <a16:creationId xmlns:a16="http://schemas.microsoft.com/office/drawing/2014/main" xmlns="" id="{A765F177-0FDA-4621-AB58-2D43B861C682}"/>
              </a:ext>
            </a:extLst>
          </p:cNvPr>
          <p:cNvSpPr/>
          <p:nvPr userDrawn="1"/>
        </p:nvSpPr>
        <p:spPr>
          <a:xfrm>
            <a:off x="19633294" y="2744796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38" name="Elipse 37">
            <a:extLst>
              <a:ext uri="{FF2B5EF4-FFF2-40B4-BE49-F238E27FC236}">
                <a16:creationId xmlns:a16="http://schemas.microsoft.com/office/drawing/2014/main" xmlns="" id="{111F2337-AD68-4913-A150-132B29362E8A}"/>
              </a:ext>
            </a:extLst>
          </p:cNvPr>
          <p:cNvSpPr/>
          <p:nvPr userDrawn="1"/>
        </p:nvSpPr>
        <p:spPr>
          <a:xfrm>
            <a:off x="20464370" y="2744796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39" name="Elipse 38">
            <a:extLst>
              <a:ext uri="{FF2B5EF4-FFF2-40B4-BE49-F238E27FC236}">
                <a16:creationId xmlns:a16="http://schemas.microsoft.com/office/drawing/2014/main" xmlns="" id="{474AEC31-1CDA-421F-B434-BF5C421210FD}"/>
              </a:ext>
            </a:extLst>
          </p:cNvPr>
          <p:cNvSpPr/>
          <p:nvPr userDrawn="1"/>
        </p:nvSpPr>
        <p:spPr>
          <a:xfrm>
            <a:off x="21295446" y="2744796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40" name="Elipse 39">
            <a:extLst>
              <a:ext uri="{FF2B5EF4-FFF2-40B4-BE49-F238E27FC236}">
                <a16:creationId xmlns:a16="http://schemas.microsoft.com/office/drawing/2014/main" xmlns="" id="{D280EB68-24F1-402A-A5E4-CAD2F3F147E3}"/>
              </a:ext>
            </a:extLst>
          </p:cNvPr>
          <p:cNvSpPr/>
          <p:nvPr userDrawn="1"/>
        </p:nvSpPr>
        <p:spPr>
          <a:xfrm>
            <a:off x="22126522" y="2744796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41" name="Elipse 40">
            <a:extLst>
              <a:ext uri="{FF2B5EF4-FFF2-40B4-BE49-F238E27FC236}">
                <a16:creationId xmlns:a16="http://schemas.microsoft.com/office/drawing/2014/main" xmlns="" id="{CADDB5CD-0727-41A6-BD5E-ADBA2F238072}"/>
              </a:ext>
            </a:extLst>
          </p:cNvPr>
          <p:cNvSpPr/>
          <p:nvPr userDrawn="1"/>
        </p:nvSpPr>
        <p:spPr>
          <a:xfrm>
            <a:off x="22957598" y="2744796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42" name="Elipse 41">
            <a:extLst>
              <a:ext uri="{FF2B5EF4-FFF2-40B4-BE49-F238E27FC236}">
                <a16:creationId xmlns:a16="http://schemas.microsoft.com/office/drawing/2014/main" xmlns="" id="{22AF9F24-0E2E-4C31-AAB2-6FA2E1627717}"/>
              </a:ext>
            </a:extLst>
          </p:cNvPr>
          <p:cNvSpPr/>
          <p:nvPr userDrawn="1"/>
        </p:nvSpPr>
        <p:spPr>
          <a:xfrm>
            <a:off x="23788664" y="2744796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43" name="Elipse 42">
            <a:extLst>
              <a:ext uri="{FF2B5EF4-FFF2-40B4-BE49-F238E27FC236}">
                <a16:creationId xmlns:a16="http://schemas.microsoft.com/office/drawing/2014/main" xmlns="" id="{8BE1980F-D854-4BF4-AFB9-29AD6C2003F8}"/>
              </a:ext>
            </a:extLst>
          </p:cNvPr>
          <p:cNvSpPr/>
          <p:nvPr userDrawn="1"/>
        </p:nvSpPr>
        <p:spPr>
          <a:xfrm>
            <a:off x="10299870" y="3946588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44" name="Elipse 43">
            <a:extLst>
              <a:ext uri="{FF2B5EF4-FFF2-40B4-BE49-F238E27FC236}">
                <a16:creationId xmlns:a16="http://schemas.microsoft.com/office/drawing/2014/main" xmlns="" id="{5963AF2F-3017-4914-A4AC-2CCA80DF4EA5}"/>
              </a:ext>
            </a:extLst>
          </p:cNvPr>
          <p:cNvSpPr/>
          <p:nvPr userDrawn="1"/>
        </p:nvSpPr>
        <p:spPr>
          <a:xfrm>
            <a:off x="11130946" y="3946588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45" name="Elipse 44">
            <a:extLst>
              <a:ext uri="{FF2B5EF4-FFF2-40B4-BE49-F238E27FC236}">
                <a16:creationId xmlns:a16="http://schemas.microsoft.com/office/drawing/2014/main" xmlns="" id="{C42FE0F0-EF90-4A4A-B9D3-7CCBEF45DB60}"/>
              </a:ext>
            </a:extLst>
          </p:cNvPr>
          <p:cNvSpPr/>
          <p:nvPr userDrawn="1"/>
        </p:nvSpPr>
        <p:spPr>
          <a:xfrm>
            <a:off x="11962022" y="3946588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46" name="Elipse 45">
            <a:extLst>
              <a:ext uri="{FF2B5EF4-FFF2-40B4-BE49-F238E27FC236}">
                <a16:creationId xmlns:a16="http://schemas.microsoft.com/office/drawing/2014/main" xmlns="" id="{1E8A17B8-E698-4070-92DF-CBE7167CD24A}"/>
              </a:ext>
            </a:extLst>
          </p:cNvPr>
          <p:cNvSpPr/>
          <p:nvPr userDrawn="1"/>
        </p:nvSpPr>
        <p:spPr>
          <a:xfrm>
            <a:off x="12793098" y="3946588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47" name="Elipse 46">
            <a:extLst>
              <a:ext uri="{FF2B5EF4-FFF2-40B4-BE49-F238E27FC236}">
                <a16:creationId xmlns:a16="http://schemas.microsoft.com/office/drawing/2014/main" xmlns="" id="{84E2CC09-2CD2-4258-9135-DFBEB0939A06}"/>
              </a:ext>
            </a:extLst>
          </p:cNvPr>
          <p:cNvSpPr/>
          <p:nvPr userDrawn="1"/>
        </p:nvSpPr>
        <p:spPr>
          <a:xfrm>
            <a:off x="13624174" y="3946588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48" name="Elipse 47">
            <a:extLst>
              <a:ext uri="{FF2B5EF4-FFF2-40B4-BE49-F238E27FC236}">
                <a16:creationId xmlns:a16="http://schemas.microsoft.com/office/drawing/2014/main" xmlns="" id="{EAD25D91-3D2B-4440-9248-9703A2518C46}"/>
              </a:ext>
            </a:extLst>
          </p:cNvPr>
          <p:cNvSpPr/>
          <p:nvPr userDrawn="1"/>
        </p:nvSpPr>
        <p:spPr>
          <a:xfrm>
            <a:off x="14455250" y="3946588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49" name="Elipse 48">
            <a:extLst>
              <a:ext uri="{FF2B5EF4-FFF2-40B4-BE49-F238E27FC236}">
                <a16:creationId xmlns:a16="http://schemas.microsoft.com/office/drawing/2014/main" xmlns="" id="{829C2AD1-B9DE-43A0-89EB-EA25DE82A494}"/>
              </a:ext>
            </a:extLst>
          </p:cNvPr>
          <p:cNvSpPr/>
          <p:nvPr userDrawn="1"/>
        </p:nvSpPr>
        <p:spPr>
          <a:xfrm>
            <a:off x="15286326" y="3946588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50" name="Elipse 49">
            <a:extLst>
              <a:ext uri="{FF2B5EF4-FFF2-40B4-BE49-F238E27FC236}">
                <a16:creationId xmlns:a16="http://schemas.microsoft.com/office/drawing/2014/main" xmlns="" id="{4642822C-65E2-499E-B3A3-CA08347D3ED1}"/>
              </a:ext>
            </a:extLst>
          </p:cNvPr>
          <p:cNvSpPr/>
          <p:nvPr userDrawn="1"/>
        </p:nvSpPr>
        <p:spPr>
          <a:xfrm>
            <a:off x="16117402" y="3946588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51" name="Elipse 50">
            <a:extLst>
              <a:ext uri="{FF2B5EF4-FFF2-40B4-BE49-F238E27FC236}">
                <a16:creationId xmlns:a16="http://schemas.microsoft.com/office/drawing/2014/main" xmlns="" id="{368A35A5-62BF-48A0-A52E-21370E636954}"/>
              </a:ext>
            </a:extLst>
          </p:cNvPr>
          <p:cNvSpPr/>
          <p:nvPr userDrawn="1"/>
        </p:nvSpPr>
        <p:spPr>
          <a:xfrm>
            <a:off x="16948478" y="3946588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52" name="Elipse 51">
            <a:extLst>
              <a:ext uri="{FF2B5EF4-FFF2-40B4-BE49-F238E27FC236}">
                <a16:creationId xmlns:a16="http://schemas.microsoft.com/office/drawing/2014/main" xmlns="" id="{EDD6FB9B-A220-413C-A414-A1156B40075C}"/>
              </a:ext>
            </a:extLst>
          </p:cNvPr>
          <p:cNvSpPr/>
          <p:nvPr userDrawn="1"/>
        </p:nvSpPr>
        <p:spPr>
          <a:xfrm>
            <a:off x="17779554" y="3946588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53" name="Elipse 52">
            <a:extLst>
              <a:ext uri="{FF2B5EF4-FFF2-40B4-BE49-F238E27FC236}">
                <a16:creationId xmlns:a16="http://schemas.microsoft.com/office/drawing/2014/main" xmlns="" id="{028E9D9B-DD55-4253-970D-74A1A7075116}"/>
              </a:ext>
            </a:extLst>
          </p:cNvPr>
          <p:cNvSpPr/>
          <p:nvPr userDrawn="1"/>
        </p:nvSpPr>
        <p:spPr>
          <a:xfrm>
            <a:off x="18610630" y="3946588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54" name="Elipse 53">
            <a:extLst>
              <a:ext uri="{FF2B5EF4-FFF2-40B4-BE49-F238E27FC236}">
                <a16:creationId xmlns:a16="http://schemas.microsoft.com/office/drawing/2014/main" xmlns="" id="{178941B1-4BCA-4091-9500-95D26A1FDE39}"/>
              </a:ext>
            </a:extLst>
          </p:cNvPr>
          <p:cNvSpPr/>
          <p:nvPr userDrawn="1"/>
        </p:nvSpPr>
        <p:spPr>
          <a:xfrm>
            <a:off x="19441706" y="3946588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55" name="Elipse 54">
            <a:extLst>
              <a:ext uri="{FF2B5EF4-FFF2-40B4-BE49-F238E27FC236}">
                <a16:creationId xmlns:a16="http://schemas.microsoft.com/office/drawing/2014/main" xmlns="" id="{F8BE1A02-90D4-4695-B94E-12F8A5E71BBD}"/>
              </a:ext>
            </a:extLst>
          </p:cNvPr>
          <p:cNvSpPr/>
          <p:nvPr userDrawn="1"/>
        </p:nvSpPr>
        <p:spPr>
          <a:xfrm>
            <a:off x="20272782" y="3946588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56" name="Elipse 55">
            <a:extLst>
              <a:ext uri="{FF2B5EF4-FFF2-40B4-BE49-F238E27FC236}">
                <a16:creationId xmlns:a16="http://schemas.microsoft.com/office/drawing/2014/main" xmlns="" id="{B7B42494-B839-4D75-B382-F65F3DD35312}"/>
              </a:ext>
            </a:extLst>
          </p:cNvPr>
          <p:cNvSpPr/>
          <p:nvPr userDrawn="1"/>
        </p:nvSpPr>
        <p:spPr>
          <a:xfrm>
            <a:off x="21103858" y="3946588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57" name="Elipse 56">
            <a:extLst>
              <a:ext uri="{FF2B5EF4-FFF2-40B4-BE49-F238E27FC236}">
                <a16:creationId xmlns:a16="http://schemas.microsoft.com/office/drawing/2014/main" xmlns="" id="{E35379AD-E375-47F8-89C1-08A8F466EFC5}"/>
              </a:ext>
            </a:extLst>
          </p:cNvPr>
          <p:cNvSpPr/>
          <p:nvPr userDrawn="1"/>
        </p:nvSpPr>
        <p:spPr>
          <a:xfrm>
            <a:off x="21934934" y="3946588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58" name="Elipse 57">
            <a:extLst>
              <a:ext uri="{FF2B5EF4-FFF2-40B4-BE49-F238E27FC236}">
                <a16:creationId xmlns:a16="http://schemas.microsoft.com/office/drawing/2014/main" xmlns="" id="{36D49F1B-3EE1-44EC-B928-0906205BECA3}"/>
              </a:ext>
            </a:extLst>
          </p:cNvPr>
          <p:cNvSpPr/>
          <p:nvPr userDrawn="1"/>
        </p:nvSpPr>
        <p:spPr>
          <a:xfrm>
            <a:off x="22766010" y="3946588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59" name="Elipse 58">
            <a:extLst>
              <a:ext uri="{FF2B5EF4-FFF2-40B4-BE49-F238E27FC236}">
                <a16:creationId xmlns:a16="http://schemas.microsoft.com/office/drawing/2014/main" xmlns="" id="{40D3DBAF-5DC8-4AD1-9D36-18D31DBAFEF1}"/>
              </a:ext>
            </a:extLst>
          </p:cNvPr>
          <p:cNvSpPr/>
          <p:nvPr userDrawn="1"/>
        </p:nvSpPr>
        <p:spPr>
          <a:xfrm>
            <a:off x="23597076" y="3946588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</p:spTree>
    <p:extLst>
      <p:ext uri="{BB962C8B-B14F-4D97-AF65-F5344CB8AC3E}">
        <p14:creationId xmlns:p14="http://schemas.microsoft.com/office/powerpoint/2010/main" val="2997458078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6" descr="Imagem 6">
            <a:hlinkClick r:id="rId2"/>
            <a:extLst>
              <a:ext uri="{FF2B5EF4-FFF2-40B4-BE49-F238E27FC236}">
                <a16:creationId xmlns:a16="http://schemas.microsoft.com/office/drawing/2014/main" xmlns="" id="{334A2CC2-DA27-4D61-9C70-31724240079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3182728" y="12505912"/>
            <a:ext cx="897119" cy="897120"/>
          </a:xfrm>
          <a:prstGeom prst="rect">
            <a:avLst/>
          </a:prstGeom>
          <a:ln w="12700">
            <a:miter lim="400000"/>
          </a:ln>
        </p:spPr>
      </p:pic>
      <p:pic>
        <p:nvPicPr>
          <p:cNvPr id="4" name="Imagem 3">
            <a:extLst>
              <a:ext uri="{FF2B5EF4-FFF2-40B4-BE49-F238E27FC236}">
                <a16:creationId xmlns:a16="http://schemas.microsoft.com/office/drawing/2014/main" xmlns="" id="{6D949172-9D39-4547-AB1A-08F94C9232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5986" r="14275" b="10375"/>
          <a:stretch/>
        </p:blipFill>
        <p:spPr>
          <a:xfrm>
            <a:off x="21942538" y="12429668"/>
            <a:ext cx="1019512" cy="10496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3699675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2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Texto do Título"/>
          <p:cNvSpPr>
            <a:spLocks noGrp="1"/>
          </p:cNvSpPr>
          <p:nvPr>
            <p:ph type="title"/>
          </p:nvPr>
        </p:nvSpPr>
        <p:spPr>
          <a:xfrm>
            <a:off x="1679575" y="914400"/>
            <a:ext cx="7864476" cy="3200400"/>
          </a:xfrm>
          <a:prstGeom prst="rect">
            <a:avLst/>
          </a:prstGeom>
        </p:spPr>
        <p:txBody>
          <a:bodyPr anchor="b"/>
          <a:lstStyle>
            <a:lvl1pPr>
              <a:defRPr sz="6400"/>
            </a:lvl1pPr>
          </a:lstStyle>
          <a:p>
            <a:r>
              <a:t>Texto do Título</a:t>
            </a:r>
          </a:p>
        </p:txBody>
      </p:sp>
      <p:sp>
        <p:nvSpPr>
          <p:cNvPr id="83" name="Espaço Reservado para Imagem 2"/>
          <p:cNvSpPr>
            <a:spLocks noGrp="1"/>
          </p:cNvSpPr>
          <p:nvPr>
            <p:ph type="pic" sz="half" idx="13"/>
          </p:nvPr>
        </p:nvSpPr>
        <p:spPr>
          <a:xfrm>
            <a:off x="10366375" y="1974850"/>
            <a:ext cx="12344401" cy="9747250"/>
          </a:xfrm>
          <a:prstGeom prst="rect">
            <a:avLst/>
          </a:prstGeom>
          <a:ln w="12700"/>
        </p:spPr>
        <p:txBody>
          <a:bodyPr tIns="45719" bIns="45719">
            <a:noAutofit/>
          </a:bodyPr>
          <a:lstStyle/>
          <a:p>
            <a:endParaRPr/>
          </a:p>
        </p:txBody>
      </p:sp>
      <p:sp>
        <p:nvSpPr>
          <p:cNvPr id="84" name="Nível de Corpo Um…"/>
          <p:cNvSpPr>
            <a:spLocks noGrp="1"/>
          </p:cNvSpPr>
          <p:nvPr>
            <p:ph type="body" sz="quarter" idx="1"/>
          </p:nvPr>
        </p:nvSpPr>
        <p:spPr>
          <a:xfrm>
            <a:off x="1679575" y="4114800"/>
            <a:ext cx="7864476" cy="7623176"/>
          </a:xfrm>
          <a:prstGeom prst="rect">
            <a:avLst/>
          </a:prstGeom>
        </p:spPr>
        <p:txBody>
          <a:bodyPr/>
          <a:lstStyle>
            <a:lvl1pPr marL="0" indent="0">
              <a:buSzTx/>
              <a:buFontTx/>
              <a:buNone/>
              <a:defRPr sz="3200"/>
            </a:lvl1pPr>
            <a:lvl2pPr marL="0" indent="457200">
              <a:buSzTx/>
              <a:buFontTx/>
              <a:buNone/>
              <a:defRPr sz="3200"/>
            </a:lvl2pPr>
            <a:lvl3pPr marL="0" indent="914400">
              <a:buSzTx/>
              <a:buFontTx/>
              <a:buNone/>
              <a:defRPr sz="3200"/>
            </a:lvl3pPr>
            <a:lvl4pPr marL="0" indent="1371600">
              <a:buSzTx/>
              <a:buFontTx/>
              <a:buNone/>
              <a:defRPr sz="3200"/>
            </a:lvl4pPr>
            <a:lvl5pPr marL="0" indent="1828800">
              <a:buSzTx/>
              <a:buFontTx/>
              <a:buNone/>
              <a:defRPr sz="3200"/>
            </a:lvl5pPr>
          </a:lstStyle>
          <a:p>
            <a:r>
              <a:t>Nível de Corpo Um</a:t>
            </a:r>
          </a:p>
          <a:p>
            <a:pPr lvl="1"/>
            <a:r>
              <a:t>Nível de Corpo Dois</a:t>
            </a:r>
          </a:p>
          <a:p>
            <a:pPr lvl="2"/>
            <a:r>
              <a:t>Nível de Corpo Três</a:t>
            </a:r>
          </a:p>
          <a:p>
            <a:pPr lvl="3"/>
            <a:r>
              <a:t>Nível de Corpo Quatro</a:t>
            </a:r>
          </a:p>
          <a:p>
            <a:pPr lvl="4"/>
            <a:r>
              <a:t>Nível de Corpo Cinco</a:t>
            </a:r>
          </a:p>
        </p:txBody>
      </p:sp>
      <p:sp>
        <p:nvSpPr>
          <p:cNvPr id="85" name="Número do Slide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26962702"/>
      </p:ext>
    </p:extLst>
  </p:cSld>
  <p:clrMapOvr>
    <a:masterClrMapping/>
  </p:clrMapOvr>
  <p:transition spd="med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o do Título"/>
          <p:cNvSpPr>
            <a:spLocks noGrp="1"/>
          </p:cNvSpPr>
          <p:nvPr>
            <p:ph type="title"/>
          </p:nvPr>
        </p:nvSpPr>
        <p:spPr>
          <a:xfrm>
            <a:off x="1663700" y="3419476"/>
            <a:ext cx="21031200" cy="5705474"/>
          </a:xfrm>
          <a:prstGeom prst="rect">
            <a:avLst/>
          </a:prstGeom>
        </p:spPr>
        <p:txBody>
          <a:bodyPr anchor="b"/>
          <a:lstStyle>
            <a:lvl1pPr>
              <a:defRPr sz="12000"/>
            </a:lvl1pPr>
          </a:lstStyle>
          <a:p>
            <a:r>
              <a:t>Texto do Título</a:t>
            </a:r>
          </a:p>
        </p:txBody>
      </p:sp>
      <p:sp>
        <p:nvSpPr>
          <p:cNvPr id="30" name="Nível de Corpo Um…"/>
          <p:cNvSpPr>
            <a:spLocks noGrp="1"/>
          </p:cNvSpPr>
          <p:nvPr>
            <p:ph type="body" sz="quarter" idx="1"/>
          </p:nvPr>
        </p:nvSpPr>
        <p:spPr>
          <a:xfrm>
            <a:off x="1663700" y="9178925"/>
            <a:ext cx="21031200" cy="3000375"/>
          </a:xfrm>
          <a:prstGeom prst="rect">
            <a:avLst/>
          </a:prstGeom>
        </p:spPr>
        <p:txBody>
          <a:bodyPr/>
          <a:lstStyle>
            <a:lvl1pPr marL="0" indent="0">
              <a:buSzTx/>
              <a:buFontTx/>
              <a:buNone/>
              <a:defRPr sz="4800">
                <a:solidFill>
                  <a:srgbClr val="888888"/>
                </a:solidFill>
              </a:defRPr>
            </a:lvl1pPr>
            <a:lvl2pPr marL="0" indent="457200">
              <a:buSzTx/>
              <a:buFontTx/>
              <a:buNone/>
              <a:defRPr sz="4800">
                <a:solidFill>
                  <a:srgbClr val="888888"/>
                </a:solidFill>
              </a:defRPr>
            </a:lvl2pPr>
            <a:lvl3pPr marL="0" indent="914400">
              <a:buSzTx/>
              <a:buFontTx/>
              <a:buNone/>
              <a:defRPr sz="4800">
                <a:solidFill>
                  <a:srgbClr val="888888"/>
                </a:solidFill>
              </a:defRPr>
            </a:lvl3pPr>
            <a:lvl4pPr marL="0" indent="1371600">
              <a:buSzTx/>
              <a:buFontTx/>
              <a:buNone/>
              <a:defRPr sz="4800">
                <a:solidFill>
                  <a:srgbClr val="888888"/>
                </a:solidFill>
              </a:defRPr>
            </a:lvl4pPr>
            <a:lvl5pPr marL="0" indent="1828800">
              <a:buSzTx/>
              <a:buFontTx/>
              <a:buNone/>
              <a:defRPr sz="4800">
                <a:solidFill>
                  <a:srgbClr val="888888"/>
                </a:solidFill>
              </a:defRPr>
            </a:lvl5pPr>
          </a:lstStyle>
          <a:p>
            <a:r>
              <a:t>Nível de Corpo Um</a:t>
            </a:r>
          </a:p>
          <a:p>
            <a:pPr lvl="1"/>
            <a:r>
              <a:t>Nível de Corpo Dois</a:t>
            </a:r>
          </a:p>
          <a:p>
            <a:pPr lvl="2"/>
            <a:r>
              <a:t>Nível de Corpo Três</a:t>
            </a:r>
          </a:p>
          <a:p>
            <a:pPr lvl="3"/>
            <a:r>
              <a:t>Nível de Corpo Quatro</a:t>
            </a:r>
          </a:p>
          <a:p>
            <a:pPr lvl="4"/>
            <a:r>
              <a:t>Nível de Corpo Cinco</a:t>
            </a:r>
          </a:p>
        </p:txBody>
      </p:sp>
      <p:sp>
        <p:nvSpPr>
          <p:cNvPr id="31" name="Número do Slide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94586407"/>
      </p:ext>
    </p:extLst>
  </p:cSld>
  <p:clrMapOvr>
    <a:masterClrMapping/>
  </p:clrMapOvr>
  <p:transition spd="med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exto do Título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exto do Título</a:t>
            </a:r>
          </a:p>
        </p:txBody>
      </p:sp>
      <p:sp>
        <p:nvSpPr>
          <p:cNvPr id="39" name="Nível de Corpo Um…"/>
          <p:cNvSpPr>
            <a:spLocks noGrp="1"/>
          </p:cNvSpPr>
          <p:nvPr>
            <p:ph type="body" sz="half" idx="1"/>
          </p:nvPr>
        </p:nvSpPr>
        <p:spPr>
          <a:xfrm>
            <a:off x="1676400" y="3651250"/>
            <a:ext cx="10363200" cy="8702676"/>
          </a:xfrm>
          <a:prstGeom prst="rect">
            <a:avLst/>
          </a:prstGeom>
        </p:spPr>
        <p:txBody>
          <a:bodyPr/>
          <a:lstStyle/>
          <a:p>
            <a:r>
              <a:t>Nível de Corpo Um</a:t>
            </a:r>
          </a:p>
          <a:p>
            <a:pPr lvl="1"/>
            <a:r>
              <a:t>Nível de Corpo Dois</a:t>
            </a:r>
          </a:p>
          <a:p>
            <a:pPr lvl="2"/>
            <a:r>
              <a:t>Nível de Corpo Três</a:t>
            </a:r>
          </a:p>
          <a:p>
            <a:pPr lvl="3"/>
            <a:r>
              <a:t>Nível de Corpo Quatro</a:t>
            </a:r>
          </a:p>
          <a:p>
            <a:pPr lvl="4"/>
            <a:r>
              <a:t>Nível de Corpo Cinco</a:t>
            </a:r>
          </a:p>
        </p:txBody>
      </p:sp>
      <p:sp>
        <p:nvSpPr>
          <p:cNvPr id="40" name="Número do Slide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99693013"/>
      </p:ext>
    </p:extLst>
  </p:cSld>
  <p:clrMapOvr>
    <a:masterClrMapping/>
  </p:clrMapOvr>
  <p:transition spd="med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exto do Título"/>
          <p:cNvSpPr>
            <a:spLocks noGrp="1"/>
          </p:cNvSpPr>
          <p:nvPr>
            <p:ph type="title"/>
          </p:nvPr>
        </p:nvSpPr>
        <p:spPr>
          <a:xfrm>
            <a:off x="1679575" y="730250"/>
            <a:ext cx="21031201" cy="2651126"/>
          </a:xfrm>
          <a:prstGeom prst="rect">
            <a:avLst/>
          </a:prstGeom>
        </p:spPr>
        <p:txBody>
          <a:bodyPr/>
          <a:lstStyle/>
          <a:p>
            <a:r>
              <a:t>Texto do Título</a:t>
            </a:r>
          </a:p>
        </p:txBody>
      </p:sp>
      <p:sp>
        <p:nvSpPr>
          <p:cNvPr id="48" name="Nível de Corpo Um…"/>
          <p:cNvSpPr>
            <a:spLocks noGrp="1"/>
          </p:cNvSpPr>
          <p:nvPr>
            <p:ph type="body" sz="quarter" idx="1"/>
          </p:nvPr>
        </p:nvSpPr>
        <p:spPr>
          <a:xfrm>
            <a:off x="1679575" y="3362326"/>
            <a:ext cx="10315576" cy="1647825"/>
          </a:xfrm>
          <a:prstGeom prst="rect">
            <a:avLst/>
          </a:prstGeom>
        </p:spPr>
        <p:txBody>
          <a:bodyPr anchor="b"/>
          <a:lstStyle>
            <a:lvl1pPr marL="0" indent="0">
              <a:buSzTx/>
              <a:buFontTx/>
              <a:buNone/>
              <a:defRPr sz="4800" b="1">
                <a:latin typeface="Helvetica"/>
                <a:ea typeface="Helvetica"/>
                <a:cs typeface="Helvetica"/>
                <a:sym typeface="Helvetica"/>
              </a:defRPr>
            </a:lvl1pPr>
            <a:lvl2pPr marL="0" indent="457200">
              <a:buSzTx/>
              <a:buFontTx/>
              <a:buNone/>
              <a:defRPr sz="4800" b="1">
                <a:latin typeface="Helvetica"/>
                <a:ea typeface="Helvetica"/>
                <a:cs typeface="Helvetica"/>
                <a:sym typeface="Helvetica"/>
              </a:defRPr>
            </a:lvl2pPr>
            <a:lvl3pPr marL="0" indent="914400">
              <a:buSzTx/>
              <a:buFontTx/>
              <a:buNone/>
              <a:defRPr sz="4800" b="1">
                <a:latin typeface="Helvetica"/>
                <a:ea typeface="Helvetica"/>
                <a:cs typeface="Helvetica"/>
                <a:sym typeface="Helvetica"/>
              </a:defRPr>
            </a:lvl3pPr>
            <a:lvl4pPr marL="0" indent="1371600">
              <a:buSzTx/>
              <a:buFontTx/>
              <a:buNone/>
              <a:defRPr sz="4800" b="1">
                <a:latin typeface="Helvetica"/>
                <a:ea typeface="Helvetica"/>
                <a:cs typeface="Helvetica"/>
                <a:sym typeface="Helvetica"/>
              </a:defRPr>
            </a:lvl4pPr>
            <a:lvl5pPr marL="0" indent="1828800">
              <a:buSzTx/>
              <a:buFontTx/>
              <a:buNone/>
              <a:defRPr sz="4800" b="1">
                <a:latin typeface="Helvetica"/>
                <a:ea typeface="Helvetica"/>
                <a:cs typeface="Helvetica"/>
                <a:sym typeface="Helvetica"/>
              </a:defRPr>
            </a:lvl5pPr>
          </a:lstStyle>
          <a:p>
            <a:r>
              <a:t>Nível de Corpo Um</a:t>
            </a:r>
          </a:p>
          <a:p>
            <a:pPr lvl="1"/>
            <a:r>
              <a:t>Nível de Corpo Dois</a:t>
            </a:r>
          </a:p>
          <a:p>
            <a:pPr lvl="2"/>
            <a:r>
              <a:t>Nível de Corpo Três</a:t>
            </a:r>
          </a:p>
          <a:p>
            <a:pPr lvl="3"/>
            <a:r>
              <a:t>Nível de Corpo Quatro</a:t>
            </a:r>
          </a:p>
          <a:p>
            <a:pPr lvl="4"/>
            <a:r>
              <a:t>Nível de Corpo Cinco</a:t>
            </a:r>
          </a:p>
        </p:txBody>
      </p:sp>
      <p:sp>
        <p:nvSpPr>
          <p:cNvPr id="49" name="Espaço Reservado para Texto 4"/>
          <p:cNvSpPr>
            <a:spLocks noGrp="1"/>
          </p:cNvSpPr>
          <p:nvPr>
            <p:ph type="body" sz="quarter" idx="13"/>
          </p:nvPr>
        </p:nvSpPr>
        <p:spPr>
          <a:xfrm>
            <a:off x="12344400" y="3362326"/>
            <a:ext cx="10366376" cy="1647825"/>
          </a:xfrm>
          <a:prstGeom prst="rect">
            <a:avLst/>
          </a:prstGeom>
          <a:ln w="12700"/>
        </p:spPr>
        <p:txBody>
          <a:bodyPr anchor="b"/>
          <a:lstStyle/>
          <a:p>
            <a:pPr marL="0" indent="0">
              <a:buSzTx/>
              <a:buFontTx/>
              <a:buNone/>
              <a:defRPr sz="4800" b="1">
                <a:latin typeface="Helvetica"/>
                <a:ea typeface="Helvetica"/>
                <a:cs typeface="Helvetica"/>
                <a:sym typeface="Helvetica"/>
              </a:defRPr>
            </a:pPr>
            <a:endParaRPr/>
          </a:p>
        </p:txBody>
      </p:sp>
      <p:sp>
        <p:nvSpPr>
          <p:cNvPr id="50" name="Número do Slide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57295785"/>
      </p:ext>
    </p:extLst>
  </p:cSld>
  <p:clrMapOvr>
    <a:masterClrMapping/>
  </p:clrMapOvr>
  <p:transition spd="med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Texto do Título"/>
          <p:cNvSpPr>
            <a:spLocks noGrp="1"/>
          </p:cNvSpPr>
          <p:nvPr>
            <p:ph type="title"/>
          </p:nvPr>
        </p:nvSpPr>
        <p:spPr>
          <a:xfrm>
            <a:off x="1679575" y="914400"/>
            <a:ext cx="7864476" cy="3200400"/>
          </a:xfrm>
          <a:prstGeom prst="rect">
            <a:avLst/>
          </a:prstGeom>
        </p:spPr>
        <p:txBody>
          <a:bodyPr anchor="b"/>
          <a:lstStyle>
            <a:lvl1pPr>
              <a:defRPr sz="6400"/>
            </a:lvl1pPr>
          </a:lstStyle>
          <a:p>
            <a:r>
              <a:t>Texto do Título</a:t>
            </a:r>
          </a:p>
        </p:txBody>
      </p:sp>
      <p:sp>
        <p:nvSpPr>
          <p:cNvPr id="73" name="Nível de Corpo Um…"/>
          <p:cNvSpPr>
            <a:spLocks noGrp="1"/>
          </p:cNvSpPr>
          <p:nvPr>
            <p:ph type="body" sz="half" idx="1"/>
          </p:nvPr>
        </p:nvSpPr>
        <p:spPr>
          <a:xfrm>
            <a:off x="10366375" y="1974850"/>
            <a:ext cx="12344401" cy="9747250"/>
          </a:xfrm>
          <a:prstGeom prst="rect">
            <a:avLst/>
          </a:prstGeom>
        </p:spPr>
        <p:txBody>
          <a:bodyPr/>
          <a:lstStyle>
            <a:lvl1pPr>
              <a:defRPr sz="6400"/>
            </a:lvl1pPr>
            <a:lvl2pPr marL="979714" indent="-522514">
              <a:defRPr sz="6400"/>
            </a:lvl2pPr>
            <a:lvl3pPr marL="1524000" indent="-609600">
              <a:defRPr sz="6400"/>
            </a:lvl3pPr>
            <a:lvl4pPr marL="2103120" indent="-731520">
              <a:defRPr sz="6400"/>
            </a:lvl4pPr>
            <a:lvl5pPr marL="2560320" indent="-731520">
              <a:defRPr sz="6400"/>
            </a:lvl5pPr>
          </a:lstStyle>
          <a:p>
            <a:r>
              <a:t>Nível de Corpo Um</a:t>
            </a:r>
          </a:p>
          <a:p>
            <a:pPr lvl="1"/>
            <a:r>
              <a:t>Nível de Corpo Dois</a:t>
            </a:r>
          </a:p>
          <a:p>
            <a:pPr lvl="2"/>
            <a:r>
              <a:t>Nível de Corpo Três</a:t>
            </a:r>
          </a:p>
          <a:p>
            <a:pPr lvl="3"/>
            <a:r>
              <a:t>Nível de Corpo Quatro</a:t>
            </a:r>
          </a:p>
          <a:p>
            <a:pPr lvl="4"/>
            <a:r>
              <a:t>Nível de Corpo Cinco</a:t>
            </a:r>
          </a:p>
        </p:txBody>
      </p:sp>
      <p:sp>
        <p:nvSpPr>
          <p:cNvPr id="74" name="Espaço Reservado para Texto 3"/>
          <p:cNvSpPr>
            <a:spLocks noGrp="1"/>
          </p:cNvSpPr>
          <p:nvPr>
            <p:ph type="body" sz="quarter" idx="13"/>
          </p:nvPr>
        </p:nvSpPr>
        <p:spPr>
          <a:xfrm>
            <a:off x="1679575" y="4114800"/>
            <a:ext cx="7864475" cy="7623176"/>
          </a:xfrm>
          <a:prstGeom prst="rect">
            <a:avLst/>
          </a:prstGeom>
          <a:ln w="12700"/>
        </p:spPr>
        <p:txBody>
          <a:bodyPr/>
          <a:lstStyle/>
          <a:p>
            <a:pPr marL="0" indent="0">
              <a:buSzTx/>
              <a:buFontTx/>
              <a:buNone/>
              <a:defRPr sz="3200"/>
            </a:pPr>
            <a:endParaRPr/>
          </a:p>
        </p:txBody>
      </p:sp>
      <p:sp>
        <p:nvSpPr>
          <p:cNvPr id="75" name="Número do Slide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34493801"/>
      </p:ext>
    </p:extLst>
  </p:cSld>
  <p:clrMapOvr>
    <a:masterClrMapping/>
  </p:clrMapOvr>
  <p:transition spd="med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ítulo e Obje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xmlns="" id="{81528783-4C6A-4398-B603-703E2FE426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5161221"/>
              </p:ext>
            </p:ext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8" name="Slide do think-cell" r:id="rId5" imgW="421" imgH="423" progId="TCLayout.ActiveDocument.1">
                  <p:embed/>
                </p:oleObj>
              </mc:Choice>
              <mc:Fallback>
                <p:oleObj name="Slide do think-cell" r:id="rId5" imgW="421" imgH="423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xmlns="" id="{81528783-4C6A-4398-B603-703E2FE426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ângulo 2" hidden="1">
            <a:extLst>
              <a:ext uri="{FF2B5EF4-FFF2-40B4-BE49-F238E27FC236}">
                <a16:creationId xmlns:a16="http://schemas.microsoft.com/office/drawing/2014/main" xmlns="" id="{517FC8BB-D763-41A8-A87D-5932F67FD22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317500" cy="3175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pt-PT" sz="4800" b="1" i="1" baseline="0">
              <a:latin typeface="Raleway-SemiBold"/>
              <a:ea typeface="+mn-ea"/>
              <a:cs typeface="+mn-cs"/>
              <a:sym typeface="Raleway-SemiBold"/>
            </a:endParaRPr>
          </a:p>
        </p:txBody>
      </p:sp>
      <p:sp>
        <p:nvSpPr>
          <p:cNvPr id="9" name="Retângulo 20">
            <a:extLst>
              <a:ext uri="{FF2B5EF4-FFF2-40B4-BE49-F238E27FC236}">
                <a16:creationId xmlns:a16="http://schemas.microsoft.com/office/drawing/2014/main" xmlns="" id="{5E3DF8EA-4A10-45FD-891F-7C6EEA0B3B9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45125" y="195619"/>
            <a:ext cx="15246481" cy="830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rtlCol="0">
            <a:spAutoFit/>
          </a:bodyPr>
          <a:lstStyle/>
          <a:p>
            <a:r>
              <a:rPr lang="pt-BR" sz="4800" b="1" i="1">
                <a:solidFill>
                  <a:srgbClr val="F44F15"/>
                </a:solidFill>
              </a:rPr>
              <a:t>                                                                                                            </a:t>
            </a:r>
          </a:p>
        </p:txBody>
      </p:sp>
      <p:pic>
        <p:nvPicPr>
          <p:cNvPr id="13" name="Imagem 6" descr="Imagem 6">
            <a:hlinkClick r:id="rId7"/>
            <a:extLst>
              <a:ext uri="{FF2B5EF4-FFF2-40B4-BE49-F238E27FC236}">
                <a16:creationId xmlns:a16="http://schemas.microsoft.com/office/drawing/2014/main" xmlns="" id="{2DD91F1C-FF47-45FF-B10D-EF33B95A3A91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23326167" y="12541770"/>
            <a:ext cx="897119" cy="897120"/>
          </a:xfrm>
          <a:prstGeom prst="rect">
            <a:avLst/>
          </a:prstGeom>
          <a:ln w="12700">
            <a:miter lim="400000"/>
          </a:ln>
        </p:spPr>
      </p:pic>
      <p:cxnSp>
        <p:nvCxnSpPr>
          <p:cNvPr id="6" name="Conector reto 5">
            <a:extLst>
              <a:ext uri="{FF2B5EF4-FFF2-40B4-BE49-F238E27FC236}">
                <a16:creationId xmlns:a16="http://schemas.microsoft.com/office/drawing/2014/main" xmlns="" id="{7CD6ACF2-AC84-471D-9AEC-5C46F2F27E94}"/>
              </a:ext>
            </a:extLst>
          </p:cNvPr>
          <p:cNvCxnSpPr/>
          <p:nvPr userDrawn="1"/>
        </p:nvCxnSpPr>
        <p:spPr>
          <a:xfrm>
            <a:off x="-182880" y="1666240"/>
            <a:ext cx="7477760" cy="0"/>
          </a:xfrm>
          <a:prstGeom prst="line">
            <a:avLst/>
          </a:prstGeom>
          <a:noFill/>
          <a:ln w="57150" cap="flat">
            <a:solidFill>
              <a:srgbClr val="E4610F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23633977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exto do Título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exto do Título</a:t>
            </a:r>
          </a:p>
        </p:txBody>
      </p:sp>
      <p:sp>
        <p:nvSpPr>
          <p:cNvPr id="39" name="Nível de Corpo Um…"/>
          <p:cNvSpPr>
            <a:spLocks noGrp="1"/>
          </p:cNvSpPr>
          <p:nvPr>
            <p:ph type="body" sz="half" idx="1"/>
          </p:nvPr>
        </p:nvSpPr>
        <p:spPr>
          <a:xfrm>
            <a:off x="1676400" y="3651250"/>
            <a:ext cx="10363200" cy="8702676"/>
          </a:xfrm>
          <a:prstGeom prst="rect">
            <a:avLst/>
          </a:prstGeom>
        </p:spPr>
        <p:txBody>
          <a:bodyPr/>
          <a:lstStyle/>
          <a:p>
            <a:r>
              <a:t>Nível de Corpo Um</a:t>
            </a:r>
          </a:p>
          <a:p>
            <a:pPr lvl="1"/>
            <a:r>
              <a:t>Nível de Corpo Dois</a:t>
            </a:r>
          </a:p>
          <a:p>
            <a:pPr lvl="2"/>
            <a:r>
              <a:t>Nível de Corpo Três</a:t>
            </a:r>
          </a:p>
          <a:p>
            <a:pPr lvl="3"/>
            <a:r>
              <a:t>Nível de Corpo Quatro</a:t>
            </a:r>
          </a:p>
          <a:p>
            <a:pPr lvl="4"/>
            <a:r>
              <a:t>Nível de Corpo Cinco</a:t>
            </a:r>
          </a:p>
        </p:txBody>
      </p:sp>
      <p:sp>
        <p:nvSpPr>
          <p:cNvPr id="40" name="Número do Slide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ítulo e Obje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xmlns="" id="{81528783-4C6A-4398-B603-703E2FE426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27418853"/>
              </p:ext>
            </p:ext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2" name="Slide do think-cell" r:id="rId5" imgW="421" imgH="423" progId="TCLayout.ActiveDocument.1">
                  <p:embed/>
                </p:oleObj>
              </mc:Choice>
              <mc:Fallback>
                <p:oleObj name="Slide do think-cell" r:id="rId5" imgW="421" imgH="423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xmlns="" id="{81528783-4C6A-4398-B603-703E2FE426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ângulo 2" hidden="1">
            <a:extLst>
              <a:ext uri="{FF2B5EF4-FFF2-40B4-BE49-F238E27FC236}">
                <a16:creationId xmlns:a16="http://schemas.microsoft.com/office/drawing/2014/main" xmlns="" id="{517FC8BB-D763-41A8-A87D-5932F67FD22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317500" cy="3175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pt-PT" sz="4800" b="1" i="1" baseline="0">
              <a:latin typeface="Raleway-SemiBold"/>
              <a:ea typeface="+mn-ea"/>
              <a:cs typeface="+mn-cs"/>
              <a:sym typeface="Raleway-SemiBold"/>
            </a:endParaRPr>
          </a:p>
        </p:txBody>
      </p:sp>
      <p:sp>
        <p:nvSpPr>
          <p:cNvPr id="9" name="Retângulo 20">
            <a:extLst>
              <a:ext uri="{FF2B5EF4-FFF2-40B4-BE49-F238E27FC236}">
                <a16:creationId xmlns:a16="http://schemas.microsoft.com/office/drawing/2014/main" xmlns="" id="{5E3DF8EA-4A10-45FD-891F-7C6EEA0B3B9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45125" y="195619"/>
            <a:ext cx="15246481" cy="830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rtlCol="0">
            <a:spAutoFit/>
          </a:bodyPr>
          <a:lstStyle/>
          <a:p>
            <a:r>
              <a:rPr lang="pt-BR" sz="4800" b="1" i="1">
                <a:solidFill>
                  <a:srgbClr val="F44F15"/>
                </a:solidFill>
              </a:rPr>
              <a:t>                                                                                                            </a:t>
            </a:r>
          </a:p>
        </p:txBody>
      </p:sp>
      <p:cxnSp>
        <p:nvCxnSpPr>
          <p:cNvPr id="6" name="Conector reto 5">
            <a:extLst>
              <a:ext uri="{FF2B5EF4-FFF2-40B4-BE49-F238E27FC236}">
                <a16:creationId xmlns:a16="http://schemas.microsoft.com/office/drawing/2014/main" xmlns="" id="{7CD6ACF2-AC84-471D-9AEC-5C46F2F27E94}"/>
              </a:ext>
            </a:extLst>
          </p:cNvPr>
          <p:cNvCxnSpPr/>
          <p:nvPr userDrawn="1"/>
        </p:nvCxnSpPr>
        <p:spPr>
          <a:xfrm>
            <a:off x="-182880" y="1666240"/>
            <a:ext cx="7477760" cy="0"/>
          </a:xfrm>
          <a:prstGeom prst="line">
            <a:avLst/>
          </a:prstGeom>
          <a:noFill/>
          <a:ln w="57150" cap="flat">
            <a:solidFill>
              <a:srgbClr val="E4610F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290357317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ítulo e Obje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xmlns="" id="{81528783-4C6A-4398-B603-703E2FE426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1487330"/>
              </p:ext>
            </p:ext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6" name="Slide do think-cell" r:id="rId5" imgW="421" imgH="423" progId="TCLayout.ActiveDocument.1">
                  <p:embed/>
                </p:oleObj>
              </mc:Choice>
              <mc:Fallback>
                <p:oleObj name="Slide do think-cell" r:id="rId5" imgW="421" imgH="423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xmlns="" id="{81528783-4C6A-4398-B603-703E2FE426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ângulo 2" hidden="1">
            <a:extLst>
              <a:ext uri="{FF2B5EF4-FFF2-40B4-BE49-F238E27FC236}">
                <a16:creationId xmlns:a16="http://schemas.microsoft.com/office/drawing/2014/main" xmlns="" id="{517FC8BB-D763-41A8-A87D-5932F67FD22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317500" cy="3175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pt-PT" sz="4800" b="1" i="1" baseline="0">
              <a:latin typeface="Raleway-SemiBold"/>
              <a:ea typeface="+mn-ea"/>
              <a:cs typeface="+mn-cs"/>
              <a:sym typeface="Raleway-SemiBold"/>
            </a:endParaRPr>
          </a:p>
        </p:txBody>
      </p:sp>
      <p:sp>
        <p:nvSpPr>
          <p:cNvPr id="9" name="Retângulo 20">
            <a:extLst>
              <a:ext uri="{FF2B5EF4-FFF2-40B4-BE49-F238E27FC236}">
                <a16:creationId xmlns:a16="http://schemas.microsoft.com/office/drawing/2014/main" xmlns="" id="{5E3DF8EA-4A10-45FD-891F-7C6EEA0B3B9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45125" y="195619"/>
            <a:ext cx="15246481" cy="830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rtlCol="0">
            <a:spAutoFit/>
          </a:bodyPr>
          <a:lstStyle/>
          <a:p>
            <a:r>
              <a:rPr lang="pt-BR" sz="4800" b="1" i="1">
                <a:solidFill>
                  <a:srgbClr val="F44F15"/>
                </a:solidFill>
              </a:rPr>
              <a:t>                                                                                                            </a:t>
            </a:r>
          </a:p>
        </p:txBody>
      </p:sp>
      <p:sp>
        <p:nvSpPr>
          <p:cNvPr id="11" name="Retângulo 10">
            <a:extLst>
              <a:ext uri="{FF2B5EF4-FFF2-40B4-BE49-F238E27FC236}">
                <a16:creationId xmlns:a16="http://schemas.microsoft.com/office/drawing/2014/main" xmlns="" id="{3AE1406E-CEA5-45F2-9BB9-3D02F193619E}"/>
              </a:ext>
            </a:extLst>
          </p:cNvPr>
          <p:cNvSpPr/>
          <p:nvPr userDrawn="1"/>
        </p:nvSpPr>
        <p:spPr>
          <a:xfrm>
            <a:off x="0" y="13592685"/>
            <a:ext cx="24384000" cy="125558"/>
          </a:xfrm>
          <a:prstGeom prst="rect">
            <a:avLst/>
          </a:prstGeom>
          <a:solidFill>
            <a:srgbClr val="F44F1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pic>
        <p:nvPicPr>
          <p:cNvPr id="13" name="Imagem 6" descr="Imagem 6">
            <a:hlinkClick r:id="rId7"/>
            <a:extLst>
              <a:ext uri="{FF2B5EF4-FFF2-40B4-BE49-F238E27FC236}">
                <a16:creationId xmlns:a16="http://schemas.microsoft.com/office/drawing/2014/main" xmlns="" id="{2DD91F1C-FF47-45FF-B10D-EF33B95A3A91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23326167" y="12505912"/>
            <a:ext cx="897119" cy="897120"/>
          </a:xfrm>
          <a:prstGeom prst="rect">
            <a:avLst/>
          </a:prstGeom>
          <a:ln w="12700">
            <a:miter lim="400000"/>
          </a:ln>
        </p:spPr>
      </p:pic>
      <p:pic>
        <p:nvPicPr>
          <p:cNvPr id="7" name="Imagem 6">
            <a:extLst>
              <a:ext uri="{FF2B5EF4-FFF2-40B4-BE49-F238E27FC236}">
                <a16:creationId xmlns:a16="http://schemas.microsoft.com/office/drawing/2014/main" xmlns="" id="{87BBB738-2BDC-403A-80C0-E60442933BD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/>
          <a:srcRect l="5986" r="14275" b="10375"/>
          <a:stretch/>
        </p:blipFill>
        <p:spPr>
          <a:xfrm>
            <a:off x="21942538" y="12429668"/>
            <a:ext cx="1019512" cy="10496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399462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ítulo e Obje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xmlns="" id="{81528783-4C6A-4398-B603-703E2FE426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1565115"/>
              </p:ext>
            </p:ext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0" name="Slide do think-cell" r:id="rId5" imgW="421" imgH="423" progId="TCLayout.ActiveDocument.1">
                  <p:embed/>
                </p:oleObj>
              </mc:Choice>
              <mc:Fallback>
                <p:oleObj name="Slide do think-cell" r:id="rId5" imgW="421" imgH="423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xmlns="" id="{81528783-4C6A-4398-B603-703E2FE426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ângulo 2" hidden="1">
            <a:extLst>
              <a:ext uri="{FF2B5EF4-FFF2-40B4-BE49-F238E27FC236}">
                <a16:creationId xmlns:a16="http://schemas.microsoft.com/office/drawing/2014/main" xmlns="" id="{517FC8BB-D763-41A8-A87D-5932F67FD22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317500" cy="3175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pt-PT" sz="4800" b="1" i="1" baseline="0">
              <a:latin typeface="Raleway-SemiBold"/>
              <a:ea typeface="+mn-ea"/>
              <a:cs typeface="+mn-cs"/>
              <a:sym typeface="Raleway-SemiBold"/>
            </a:endParaRPr>
          </a:p>
        </p:txBody>
      </p:sp>
      <p:sp>
        <p:nvSpPr>
          <p:cNvPr id="6" name="Marcador de Posição do Número do Diapositivo 5">
            <a:extLst>
              <a:ext uri="{FF2B5EF4-FFF2-40B4-BE49-F238E27FC236}">
                <a16:creationId xmlns:a16="http://schemas.microsoft.com/office/drawing/2014/main" xmlns="" id="{87B4A81E-D387-49B6-9841-BBBB15994B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022796" y="12800828"/>
            <a:ext cx="684803" cy="553996"/>
          </a:xfrm>
        </p:spPr>
        <p:txBody>
          <a:bodyPr/>
          <a:lstStyle/>
          <a:p>
            <a:fld id="{59CA350E-AE1A-4EC8-BB97-E02A6D9822DC}" type="slidenum">
              <a:rPr lang="pt-BR" smtClean="0"/>
              <a:t>‹nº›</a:t>
            </a:fld>
            <a:endParaRPr lang="pt-BR"/>
          </a:p>
        </p:txBody>
      </p:sp>
      <p:sp>
        <p:nvSpPr>
          <p:cNvPr id="9" name="Retângulo 20">
            <a:extLst>
              <a:ext uri="{FF2B5EF4-FFF2-40B4-BE49-F238E27FC236}">
                <a16:creationId xmlns:a16="http://schemas.microsoft.com/office/drawing/2014/main" xmlns="" id="{5E3DF8EA-4A10-45FD-891F-7C6EEA0B3B9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45125" y="195619"/>
            <a:ext cx="15246481" cy="830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rtlCol="0">
            <a:spAutoFit/>
          </a:bodyPr>
          <a:lstStyle/>
          <a:p>
            <a:r>
              <a:rPr lang="pt-BR" sz="4800" b="1" i="1">
                <a:solidFill>
                  <a:srgbClr val="F44F15"/>
                </a:solidFill>
              </a:rPr>
              <a:t>                                                                                                            </a:t>
            </a:r>
          </a:p>
        </p:txBody>
      </p:sp>
      <p:sp>
        <p:nvSpPr>
          <p:cNvPr id="10" name="Título 1">
            <a:extLst>
              <a:ext uri="{FF2B5EF4-FFF2-40B4-BE49-F238E27FC236}">
                <a16:creationId xmlns:a16="http://schemas.microsoft.com/office/drawing/2014/main" xmlns="" id="{594DF616-56D8-4C96-A835-4622C43D55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7252" y="254977"/>
            <a:ext cx="23391624" cy="849461"/>
          </a:xfrm>
          <a:noFill/>
        </p:spPr>
        <p:txBody>
          <a:bodyPr wrap="square" rtlCol="0">
            <a:spAutoFit/>
          </a:bodyPr>
          <a:lstStyle>
            <a:lvl1pPr>
              <a:defRPr lang="pt-BR" sz="4800" b="1" i="1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/>
            <a:r>
              <a:rPr lang="pt-PT"/>
              <a:t>Clique para editar o estilo de título do Modelo Global</a:t>
            </a:r>
            <a:endParaRPr lang="pt-BR"/>
          </a:p>
        </p:txBody>
      </p:sp>
      <p:sp>
        <p:nvSpPr>
          <p:cNvPr id="11" name="Retângulo 10">
            <a:extLst>
              <a:ext uri="{FF2B5EF4-FFF2-40B4-BE49-F238E27FC236}">
                <a16:creationId xmlns:a16="http://schemas.microsoft.com/office/drawing/2014/main" xmlns="" id="{3AE1406E-CEA5-45F2-9BB9-3D02F193619E}"/>
              </a:ext>
            </a:extLst>
          </p:cNvPr>
          <p:cNvSpPr/>
          <p:nvPr userDrawn="1"/>
        </p:nvSpPr>
        <p:spPr>
          <a:xfrm>
            <a:off x="0" y="13592685"/>
            <a:ext cx="24384000" cy="125558"/>
          </a:xfrm>
          <a:prstGeom prst="rect">
            <a:avLst/>
          </a:prstGeom>
          <a:solidFill>
            <a:srgbClr val="F44F1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pic>
        <p:nvPicPr>
          <p:cNvPr id="12" name="Imagem 11">
            <a:extLst>
              <a:ext uri="{FF2B5EF4-FFF2-40B4-BE49-F238E27FC236}">
                <a16:creationId xmlns:a16="http://schemas.microsoft.com/office/drawing/2014/main" xmlns="" id="{CCBBF573-2AF1-45CE-B279-5C9B4B211037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50898"/>
            <a:ext cx="24384000" cy="13541787"/>
          </a:xfrm>
          <a:prstGeom prst="rect">
            <a:avLst/>
          </a:prstGeom>
        </p:spPr>
      </p:pic>
      <p:sp>
        <p:nvSpPr>
          <p:cNvPr id="5" name="Retângulo 4">
            <a:extLst>
              <a:ext uri="{FF2B5EF4-FFF2-40B4-BE49-F238E27FC236}">
                <a16:creationId xmlns:a16="http://schemas.microsoft.com/office/drawing/2014/main" xmlns="" id="{788A73B9-F2D2-45C8-8280-6D90F6683365}"/>
              </a:ext>
            </a:extLst>
          </p:cNvPr>
          <p:cNvSpPr/>
          <p:nvPr userDrawn="1"/>
        </p:nvSpPr>
        <p:spPr>
          <a:xfrm>
            <a:off x="0" y="0"/>
            <a:ext cx="24384000" cy="13592685"/>
          </a:xfrm>
          <a:prstGeom prst="rect">
            <a:avLst/>
          </a:prstGeom>
          <a:solidFill>
            <a:srgbClr val="FFFFFF">
              <a:alpha val="60000"/>
            </a:srgbClr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36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3" name="Imagem 6" descr="Imagem 6">
            <a:hlinkClick r:id="rId8"/>
            <a:extLst>
              <a:ext uri="{FF2B5EF4-FFF2-40B4-BE49-F238E27FC236}">
                <a16:creationId xmlns:a16="http://schemas.microsoft.com/office/drawing/2014/main" xmlns="" id="{019865E2-C28A-4995-99A0-EADF23ADC8F4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23326167" y="12505912"/>
            <a:ext cx="897119" cy="897120"/>
          </a:xfrm>
          <a:prstGeom prst="rect">
            <a:avLst/>
          </a:prstGeom>
          <a:ln w="12700">
            <a:miter lim="400000"/>
          </a:ln>
        </p:spPr>
      </p:pic>
      <p:pic>
        <p:nvPicPr>
          <p:cNvPr id="14" name="Imagem 13">
            <a:extLst>
              <a:ext uri="{FF2B5EF4-FFF2-40B4-BE49-F238E27FC236}">
                <a16:creationId xmlns:a16="http://schemas.microsoft.com/office/drawing/2014/main" xmlns="" id="{DFEE9343-75A3-4C5D-ACAC-A15479B856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/>
          <a:srcRect l="5986" r="14275" b="10375"/>
          <a:stretch/>
        </p:blipFill>
        <p:spPr>
          <a:xfrm>
            <a:off x="23264970" y="11266652"/>
            <a:ext cx="1019512" cy="10496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706691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ítulo e Obje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xmlns="" id="{81528783-4C6A-4398-B603-703E2FE426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03659241"/>
              </p:ext>
            </p:ext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4" name="Slide do think-cell" r:id="rId5" imgW="421" imgH="423" progId="TCLayout.ActiveDocument.1">
                  <p:embed/>
                </p:oleObj>
              </mc:Choice>
              <mc:Fallback>
                <p:oleObj name="Slide do think-cell" r:id="rId5" imgW="421" imgH="423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xmlns="" id="{81528783-4C6A-4398-B603-703E2FE426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ângulo 2" hidden="1">
            <a:extLst>
              <a:ext uri="{FF2B5EF4-FFF2-40B4-BE49-F238E27FC236}">
                <a16:creationId xmlns:a16="http://schemas.microsoft.com/office/drawing/2014/main" xmlns="" id="{517FC8BB-D763-41A8-A87D-5932F67FD22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317500" cy="3175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pt-PT" sz="4800" b="1" i="1" baseline="0">
              <a:latin typeface="Raleway-SemiBold"/>
              <a:ea typeface="+mn-ea"/>
              <a:cs typeface="+mn-cs"/>
              <a:sym typeface="Raleway-SemiBold"/>
            </a:endParaRPr>
          </a:p>
        </p:txBody>
      </p:sp>
      <p:sp>
        <p:nvSpPr>
          <p:cNvPr id="6" name="Marcador de Posição do Número do Diapositivo 5">
            <a:extLst>
              <a:ext uri="{FF2B5EF4-FFF2-40B4-BE49-F238E27FC236}">
                <a16:creationId xmlns:a16="http://schemas.microsoft.com/office/drawing/2014/main" xmlns="" id="{87B4A81E-D387-49B6-9841-BBBB15994B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022796" y="12800828"/>
            <a:ext cx="684803" cy="553996"/>
          </a:xfrm>
        </p:spPr>
        <p:txBody>
          <a:bodyPr/>
          <a:lstStyle/>
          <a:p>
            <a:fld id="{59CA350E-AE1A-4EC8-BB97-E02A6D9822DC}" type="slidenum">
              <a:rPr lang="pt-BR" smtClean="0"/>
              <a:t>‹nº›</a:t>
            </a:fld>
            <a:endParaRPr lang="pt-BR"/>
          </a:p>
        </p:txBody>
      </p:sp>
      <p:sp>
        <p:nvSpPr>
          <p:cNvPr id="9" name="Retângulo 20">
            <a:extLst>
              <a:ext uri="{FF2B5EF4-FFF2-40B4-BE49-F238E27FC236}">
                <a16:creationId xmlns:a16="http://schemas.microsoft.com/office/drawing/2014/main" xmlns="" id="{5E3DF8EA-4A10-45FD-891F-7C6EEA0B3B9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45125" y="195619"/>
            <a:ext cx="15246481" cy="830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rtlCol="0">
            <a:spAutoFit/>
          </a:bodyPr>
          <a:lstStyle/>
          <a:p>
            <a:r>
              <a:rPr lang="pt-BR" sz="4800" b="1" i="1">
                <a:solidFill>
                  <a:srgbClr val="F44F15"/>
                </a:solidFill>
              </a:rPr>
              <a:t>                                                                                                            </a:t>
            </a:r>
          </a:p>
        </p:txBody>
      </p:sp>
      <p:sp>
        <p:nvSpPr>
          <p:cNvPr id="10" name="Título 1">
            <a:extLst>
              <a:ext uri="{FF2B5EF4-FFF2-40B4-BE49-F238E27FC236}">
                <a16:creationId xmlns:a16="http://schemas.microsoft.com/office/drawing/2014/main" xmlns="" id="{594DF616-56D8-4C96-A835-4622C43D55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7252" y="254977"/>
            <a:ext cx="23391624" cy="849461"/>
          </a:xfrm>
          <a:noFill/>
        </p:spPr>
        <p:txBody>
          <a:bodyPr wrap="square" rtlCol="0">
            <a:spAutoFit/>
          </a:bodyPr>
          <a:lstStyle>
            <a:lvl1pPr>
              <a:defRPr lang="pt-BR" sz="4800" b="1" i="1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/>
            <a:r>
              <a:rPr lang="pt-PT"/>
              <a:t>Clique para editar o estilo de título do Modelo Global</a:t>
            </a:r>
            <a:endParaRPr lang="pt-BR"/>
          </a:p>
        </p:txBody>
      </p:sp>
      <p:sp>
        <p:nvSpPr>
          <p:cNvPr id="11" name="Retângulo 10">
            <a:extLst>
              <a:ext uri="{FF2B5EF4-FFF2-40B4-BE49-F238E27FC236}">
                <a16:creationId xmlns:a16="http://schemas.microsoft.com/office/drawing/2014/main" xmlns="" id="{3AE1406E-CEA5-45F2-9BB9-3D02F193619E}"/>
              </a:ext>
            </a:extLst>
          </p:cNvPr>
          <p:cNvSpPr/>
          <p:nvPr userDrawn="1"/>
        </p:nvSpPr>
        <p:spPr>
          <a:xfrm>
            <a:off x="0" y="13592685"/>
            <a:ext cx="24384000" cy="125558"/>
          </a:xfrm>
          <a:prstGeom prst="rect">
            <a:avLst/>
          </a:prstGeom>
          <a:solidFill>
            <a:srgbClr val="F44F1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pic>
        <p:nvPicPr>
          <p:cNvPr id="12" name="Imagem 11">
            <a:extLst>
              <a:ext uri="{FF2B5EF4-FFF2-40B4-BE49-F238E27FC236}">
                <a16:creationId xmlns:a16="http://schemas.microsoft.com/office/drawing/2014/main" xmlns="" id="{CCBBF573-2AF1-45CE-B279-5C9B4B211037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50898"/>
            <a:ext cx="24384000" cy="13541787"/>
          </a:xfrm>
          <a:prstGeom prst="rect">
            <a:avLst/>
          </a:prstGeom>
        </p:spPr>
      </p:pic>
      <p:sp>
        <p:nvSpPr>
          <p:cNvPr id="5" name="Retângulo 4">
            <a:extLst>
              <a:ext uri="{FF2B5EF4-FFF2-40B4-BE49-F238E27FC236}">
                <a16:creationId xmlns:a16="http://schemas.microsoft.com/office/drawing/2014/main" xmlns="" id="{788A73B9-F2D2-45C8-8280-6D90F6683365}"/>
              </a:ext>
            </a:extLst>
          </p:cNvPr>
          <p:cNvSpPr/>
          <p:nvPr userDrawn="1"/>
        </p:nvSpPr>
        <p:spPr>
          <a:xfrm>
            <a:off x="0" y="0"/>
            <a:ext cx="24384000" cy="13592685"/>
          </a:xfrm>
          <a:prstGeom prst="rect">
            <a:avLst/>
          </a:prstGeom>
          <a:solidFill>
            <a:srgbClr val="FFFFFF">
              <a:alpha val="60000"/>
            </a:srgbClr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36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3" name="Imagem 6" descr="Imagem 6">
            <a:hlinkClick r:id="rId8"/>
            <a:extLst>
              <a:ext uri="{FF2B5EF4-FFF2-40B4-BE49-F238E27FC236}">
                <a16:creationId xmlns:a16="http://schemas.microsoft.com/office/drawing/2014/main" xmlns="" id="{019865E2-C28A-4995-99A0-EADF23ADC8F4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23326167" y="12505912"/>
            <a:ext cx="897119" cy="897120"/>
          </a:xfrm>
          <a:prstGeom prst="rect">
            <a:avLst/>
          </a:prstGeom>
          <a:ln w="12700">
            <a:miter lim="400000"/>
          </a:ln>
        </p:spPr>
      </p:pic>
      <p:pic>
        <p:nvPicPr>
          <p:cNvPr id="14" name="Imagem 13">
            <a:extLst>
              <a:ext uri="{FF2B5EF4-FFF2-40B4-BE49-F238E27FC236}">
                <a16:creationId xmlns:a16="http://schemas.microsoft.com/office/drawing/2014/main" xmlns="" id="{DFEE9343-75A3-4C5D-ACAC-A15479B856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/>
          <a:srcRect l="5986" r="14275" b="10375"/>
          <a:stretch/>
        </p:blipFill>
        <p:spPr>
          <a:xfrm>
            <a:off x="21942538" y="12429668"/>
            <a:ext cx="1019512" cy="10496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173393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ítulo e Obje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tângulo 7">
            <a:extLst>
              <a:ext uri="{FF2B5EF4-FFF2-40B4-BE49-F238E27FC236}">
                <a16:creationId xmlns:a16="http://schemas.microsoft.com/office/drawing/2014/main" xmlns="" id="{DA021F9B-FC5F-4AC9-B7F5-669B0DE20BC7}"/>
              </a:ext>
            </a:extLst>
          </p:cNvPr>
          <p:cNvSpPr/>
          <p:nvPr userDrawn="1"/>
        </p:nvSpPr>
        <p:spPr>
          <a:xfrm>
            <a:off x="0" y="-2"/>
            <a:ext cx="24384000" cy="1440000"/>
          </a:xfrm>
          <a:prstGeom prst="rect">
            <a:avLst/>
          </a:prstGeom>
          <a:solidFill>
            <a:srgbClr val="F44F1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6" name="Marcador de Posição do Número do Diapositivo 5">
            <a:extLst>
              <a:ext uri="{FF2B5EF4-FFF2-40B4-BE49-F238E27FC236}">
                <a16:creationId xmlns:a16="http://schemas.microsoft.com/office/drawing/2014/main" xmlns="" id="{87B4A81E-D387-49B6-9841-BBBB15994B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022796" y="12800828"/>
            <a:ext cx="684803" cy="553996"/>
          </a:xfrm>
        </p:spPr>
        <p:txBody>
          <a:bodyPr/>
          <a:lstStyle/>
          <a:p>
            <a:fld id="{59CA350E-AE1A-4EC8-BB97-E02A6D9822DC}" type="slidenum">
              <a:rPr lang="pt-BR" smtClean="0"/>
              <a:t>‹nº›</a:t>
            </a:fld>
            <a:endParaRPr lang="pt-BR"/>
          </a:p>
        </p:txBody>
      </p:sp>
      <p:sp>
        <p:nvSpPr>
          <p:cNvPr id="9" name="Retângulo 20">
            <a:extLst>
              <a:ext uri="{FF2B5EF4-FFF2-40B4-BE49-F238E27FC236}">
                <a16:creationId xmlns:a16="http://schemas.microsoft.com/office/drawing/2014/main" xmlns="" id="{5E3DF8EA-4A10-45FD-891F-7C6EEA0B3B9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45125" y="195619"/>
            <a:ext cx="15246481" cy="830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rtlCol="0">
            <a:spAutoFit/>
          </a:bodyPr>
          <a:lstStyle/>
          <a:p>
            <a:r>
              <a:rPr lang="pt-BR" sz="4800" b="1" i="1">
                <a:solidFill>
                  <a:srgbClr val="F44F15"/>
                </a:solidFill>
              </a:rPr>
              <a:t>                                                                                                            </a:t>
            </a:r>
          </a:p>
        </p:txBody>
      </p:sp>
      <p:sp>
        <p:nvSpPr>
          <p:cNvPr id="10" name="Título 1">
            <a:extLst>
              <a:ext uri="{FF2B5EF4-FFF2-40B4-BE49-F238E27FC236}">
                <a16:creationId xmlns:a16="http://schemas.microsoft.com/office/drawing/2014/main" xmlns="" id="{594DF616-56D8-4C96-A835-4622C43D55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7252" y="254977"/>
            <a:ext cx="23391624" cy="849461"/>
          </a:xfrm>
          <a:noFill/>
        </p:spPr>
        <p:txBody>
          <a:bodyPr wrap="square" rtlCol="0">
            <a:spAutoFit/>
          </a:bodyPr>
          <a:lstStyle>
            <a:lvl1pPr>
              <a:defRPr lang="pt-BR" sz="4800" b="1" i="1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/>
            <a:r>
              <a:rPr lang="pt-PT"/>
              <a:t>Clique para editar o estilo de título do Modelo Global</a:t>
            </a:r>
            <a:endParaRPr lang="pt-BR"/>
          </a:p>
        </p:txBody>
      </p:sp>
      <p:sp>
        <p:nvSpPr>
          <p:cNvPr id="11" name="Retângulo 10">
            <a:extLst>
              <a:ext uri="{FF2B5EF4-FFF2-40B4-BE49-F238E27FC236}">
                <a16:creationId xmlns:a16="http://schemas.microsoft.com/office/drawing/2014/main" xmlns="" id="{3AE1406E-CEA5-45F2-9BB9-3D02F193619E}"/>
              </a:ext>
            </a:extLst>
          </p:cNvPr>
          <p:cNvSpPr/>
          <p:nvPr userDrawn="1"/>
        </p:nvSpPr>
        <p:spPr>
          <a:xfrm>
            <a:off x="0" y="13592685"/>
            <a:ext cx="24384000" cy="125558"/>
          </a:xfrm>
          <a:prstGeom prst="rect">
            <a:avLst/>
          </a:prstGeom>
          <a:solidFill>
            <a:srgbClr val="F44F1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12" name="Elipse 11">
            <a:extLst>
              <a:ext uri="{FF2B5EF4-FFF2-40B4-BE49-F238E27FC236}">
                <a16:creationId xmlns:a16="http://schemas.microsoft.com/office/drawing/2014/main" xmlns="" id="{E59FAF3A-5863-410C-AAFC-D4E5015C0ACB}"/>
              </a:ext>
            </a:extLst>
          </p:cNvPr>
          <p:cNvSpPr/>
          <p:nvPr userDrawn="1"/>
        </p:nvSpPr>
        <p:spPr>
          <a:xfrm>
            <a:off x="22726212" y="186388"/>
            <a:ext cx="1440000" cy="1440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pic>
        <p:nvPicPr>
          <p:cNvPr id="13" name="Imagem 12">
            <a:extLst>
              <a:ext uri="{FF2B5EF4-FFF2-40B4-BE49-F238E27FC236}">
                <a16:creationId xmlns:a16="http://schemas.microsoft.com/office/drawing/2014/main" xmlns="" id="{59885E33-E79A-47FB-8447-BE2C172072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01000" y="361176"/>
            <a:ext cx="1090424" cy="10904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870935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ítulo e Obje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>
            <a:extLst>
              <a:ext uri="{FF2B5EF4-FFF2-40B4-BE49-F238E27FC236}">
                <a16:creationId xmlns:a16="http://schemas.microsoft.com/office/drawing/2014/main" xmlns="" id="{BD2D1BD2-1AAF-4C1B-8A74-93AE7A98D57E}"/>
              </a:ext>
            </a:extLst>
          </p:cNvPr>
          <p:cNvSpPr/>
          <p:nvPr userDrawn="1"/>
        </p:nvSpPr>
        <p:spPr>
          <a:xfrm>
            <a:off x="2" y="0"/>
            <a:ext cx="24384000" cy="1371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3" name="Retângulo 2">
            <a:extLst>
              <a:ext uri="{FF2B5EF4-FFF2-40B4-BE49-F238E27FC236}">
                <a16:creationId xmlns:a16="http://schemas.microsoft.com/office/drawing/2014/main" xmlns="" id="{68DFCC05-F939-474B-9B70-FDCEA25C1271}"/>
              </a:ext>
            </a:extLst>
          </p:cNvPr>
          <p:cNvSpPr/>
          <p:nvPr userDrawn="1"/>
        </p:nvSpPr>
        <p:spPr>
          <a:xfrm>
            <a:off x="1" y="0"/>
            <a:ext cx="24383998" cy="1517904"/>
          </a:xfrm>
          <a:prstGeom prst="rect">
            <a:avLst/>
          </a:prstGeom>
          <a:solidFill>
            <a:srgbClr val="F44F1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</p:spTree>
    <p:extLst>
      <p:ext uri="{BB962C8B-B14F-4D97-AF65-F5344CB8AC3E}">
        <p14:creationId xmlns:p14="http://schemas.microsoft.com/office/powerpoint/2010/main" val="1662166648"/>
      </p:ext>
    </p:extLst>
  </p:cSld>
  <p:clrMapOvr>
    <a:masterClrMapping/>
  </p:clrMapOvr>
  <p:transition spd="med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ítulo e Obje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xmlns="" id="{5D22FC36-8FD8-4AF9-A5A2-0D70AE5038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9878209"/>
              </p:ext>
            </p:ext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6" name="Slide do think-cell" r:id="rId4" imgW="425" imgH="426" progId="TCLayout.ActiveDocument.1">
                  <p:embed/>
                </p:oleObj>
              </mc:Choice>
              <mc:Fallback>
                <p:oleObj name="Slide do think-cell" r:id="rId4" imgW="425" imgH="426" progId="TCLayout.ActiveDocument.1">
                  <p:embed/>
                  <p:pic>
                    <p:nvPicPr>
                      <p:cNvPr id="8" name="Objeto 7" hidden="1">
                        <a:extLst>
                          <a:ext uri="{FF2B5EF4-FFF2-40B4-BE49-F238E27FC236}">
                            <a16:creationId xmlns:a16="http://schemas.microsoft.com/office/drawing/2014/main" xmlns="" id="{5D22FC36-8FD8-4AF9-A5A2-0D70AE5038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tângulo 1">
            <a:extLst>
              <a:ext uri="{FF2B5EF4-FFF2-40B4-BE49-F238E27FC236}">
                <a16:creationId xmlns:a16="http://schemas.microsoft.com/office/drawing/2014/main" xmlns="" id="{BD2D1BD2-1AAF-4C1B-8A74-93AE7A98D57E}"/>
              </a:ext>
            </a:extLst>
          </p:cNvPr>
          <p:cNvSpPr/>
          <p:nvPr userDrawn="1"/>
        </p:nvSpPr>
        <p:spPr>
          <a:xfrm>
            <a:off x="2" y="0"/>
            <a:ext cx="24384000" cy="1371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3" name="Retângulo 2">
            <a:extLst>
              <a:ext uri="{FF2B5EF4-FFF2-40B4-BE49-F238E27FC236}">
                <a16:creationId xmlns:a16="http://schemas.microsoft.com/office/drawing/2014/main" xmlns="" id="{68DFCC05-F939-474B-9B70-FDCEA25C1271}"/>
              </a:ext>
            </a:extLst>
          </p:cNvPr>
          <p:cNvSpPr/>
          <p:nvPr userDrawn="1"/>
        </p:nvSpPr>
        <p:spPr>
          <a:xfrm>
            <a:off x="1" y="0"/>
            <a:ext cx="24383998" cy="1517904"/>
          </a:xfrm>
          <a:prstGeom prst="rect">
            <a:avLst/>
          </a:prstGeom>
          <a:solidFill>
            <a:srgbClr val="F44F1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4" name="Elipse 3">
            <a:extLst>
              <a:ext uri="{FF2B5EF4-FFF2-40B4-BE49-F238E27FC236}">
                <a16:creationId xmlns:a16="http://schemas.microsoft.com/office/drawing/2014/main" xmlns="" id="{9AE01A28-521F-4571-BE2B-24A26CE26C30}"/>
              </a:ext>
            </a:extLst>
          </p:cNvPr>
          <p:cNvSpPr/>
          <p:nvPr userDrawn="1"/>
        </p:nvSpPr>
        <p:spPr>
          <a:xfrm>
            <a:off x="127253" y="421919"/>
            <a:ext cx="2046514" cy="204651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xmlns="" id="{7D989425-529F-4A89-913C-A0360F8027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022796" y="12800828"/>
            <a:ext cx="684804" cy="553996"/>
          </a:xfrm>
        </p:spPr>
        <p:txBody>
          <a:bodyPr/>
          <a:lstStyle/>
          <a:p>
            <a:fld id="{59CA350E-AE1A-4EC8-BB97-E02A6D9822D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78934641"/>
      </p:ext>
    </p:extLst>
  </p:cSld>
  <p:clrMapOvr>
    <a:masterClrMapping/>
  </p:clrMapOvr>
  <p:transition spd="med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ítulo e Obje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>
            <a:extLst>
              <a:ext uri="{FF2B5EF4-FFF2-40B4-BE49-F238E27FC236}">
                <a16:creationId xmlns:a16="http://schemas.microsoft.com/office/drawing/2014/main" xmlns="" id="{BD2D1BD2-1AAF-4C1B-8A74-93AE7A98D57E}"/>
              </a:ext>
            </a:extLst>
          </p:cNvPr>
          <p:cNvSpPr/>
          <p:nvPr userDrawn="1"/>
        </p:nvSpPr>
        <p:spPr>
          <a:xfrm>
            <a:off x="2" y="0"/>
            <a:ext cx="24384000" cy="1371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3" name="Retângulo 2">
            <a:extLst>
              <a:ext uri="{FF2B5EF4-FFF2-40B4-BE49-F238E27FC236}">
                <a16:creationId xmlns:a16="http://schemas.microsoft.com/office/drawing/2014/main" xmlns="" id="{68DFCC05-F939-474B-9B70-FDCEA25C1271}"/>
              </a:ext>
            </a:extLst>
          </p:cNvPr>
          <p:cNvSpPr/>
          <p:nvPr userDrawn="1"/>
        </p:nvSpPr>
        <p:spPr>
          <a:xfrm>
            <a:off x="1" y="0"/>
            <a:ext cx="24383998" cy="1517904"/>
          </a:xfrm>
          <a:prstGeom prst="rect">
            <a:avLst/>
          </a:prstGeom>
          <a:solidFill>
            <a:srgbClr val="F44F1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4" name="Elipse 3">
            <a:extLst>
              <a:ext uri="{FF2B5EF4-FFF2-40B4-BE49-F238E27FC236}">
                <a16:creationId xmlns:a16="http://schemas.microsoft.com/office/drawing/2014/main" xmlns="" id="{9AE01A28-521F-4571-BE2B-24A26CE26C30}"/>
              </a:ext>
            </a:extLst>
          </p:cNvPr>
          <p:cNvSpPr/>
          <p:nvPr userDrawn="1"/>
        </p:nvSpPr>
        <p:spPr>
          <a:xfrm>
            <a:off x="22179179" y="421919"/>
            <a:ext cx="2046514" cy="204651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</p:spTree>
    <p:extLst>
      <p:ext uri="{BB962C8B-B14F-4D97-AF65-F5344CB8AC3E}">
        <p14:creationId xmlns:p14="http://schemas.microsoft.com/office/powerpoint/2010/main" val="1271944097"/>
      </p:ext>
    </p:extLst>
  </p:cSld>
  <p:clrMapOvr>
    <a:masterClrMapping/>
  </p:clrMapOvr>
  <p:transition spd="med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ítulo e Obje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2">
            <a:extLst>
              <a:ext uri="{FF2B5EF4-FFF2-40B4-BE49-F238E27FC236}">
                <a16:creationId xmlns:a16="http://schemas.microsoft.com/office/drawing/2014/main" xmlns="" id="{CA5F7A57-6202-405A-917F-710B685AD84A}"/>
              </a:ext>
            </a:extLst>
          </p:cNvPr>
          <p:cNvSpPr/>
          <p:nvPr userDrawn="1"/>
        </p:nvSpPr>
        <p:spPr>
          <a:xfrm>
            <a:off x="1" y="0"/>
            <a:ext cx="24383998" cy="13716332"/>
          </a:xfrm>
          <a:prstGeom prst="rect">
            <a:avLst/>
          </a:prstGeom>
          <a:solidFill>
            <a:srgbClr val="F44F15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</p:spTree>
    <p:extLst>
      <p:ext uri="{BB962C8B-B14F-4D97-AF65-F5344CB8AC3E}">
        <p14:creationId xmlns:p14="http://schemas.microsoft.com/office/powerpoint/2010/main" val="3279644879"/>
      </p:ext>
    </p:extLst>
  </p:cSld>
  <p:clrMapOvr>
    <a:masterClrMapping/>
  </p:clrMapOvr>
  <p:transition spd="med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ítulo e Obje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Sol atrás de nuvens no céu&#10;&#10;Descrição gerada automaticamente">
            <a:extLst>
              <a:ext uri="{FF2B5EF4-FFF2-40B4-BE49-F238E27FC236}">
                <a16:creationId xmlns:a16="http://schemas.microsoft.com/office/drawing/2014/main" xmlns="" id="{8749E4C2-F3FF-470E-B1CC-6A6C22F5F41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4384000" cy="13716000"/>
          </a:xfrm>
          <a:prstGeom prst="rect">
            <a:avLst/>
          </a:prstGeom>
        </p:spPr>
      </p:pic>
      <p:sp>
        <p:nvSpPr>
          <p:cNvPr id="5" name="Retângulo 4">
            <a:extLst>
              <a:ext uri="{FF2B5EF4-FFF2-40B4-BE49-F238E27FC236}">
                <a16:creationId xmlns:a16="http://schemas.microsoft.com/office/drawing/2014/main" xmlns="" id="{740CC2B9-EEC0-4D57-A7D9-58E0824EDE7F}"/>
              </a:ext>
            </a:extLst>
          </p:cNvPr>
          <p:cNvSpPr/>
          <p:nvPr userDrawn="1"/>
        </p:nvSpPr>
        <p:spPr>
          <a:xfrm>
            <a:off x="0" y="0"/>
            <a:ext cx="24384000" cy="13716000"/>
          </a:xfrm>
          <a:prstGeom prst="rect">
            <a:avLst/>
          </a:prstGeom>
          <a:solidFill>
            <a:srgbClr val="F44F15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xmlns="" id="{FF6080CD-2E43-446C-945A-2D0810BFEB8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8447" y="2224323"/>
            <a:ext cx="7064262" cy="1324550"/>
          </a:xfrm>
          <a:prstGeom prst="rect">
            <a:avLst/>
          </a:prstGeom>
        </p:spPr>
      </p:pic>
      <p:sp>
        <p:nvSpPr>
          <p:cNvPr id="7" name="Elipse 6">
            <a:extLst>
              <a:ext uri="{FF2B5EF4-FFF2-40B4-BE49-F238E27FC236}">
                <a16:creationId xmlns:a16="http://schemas.microsoft.com/office/drawing/2014/main" xmlns="" id="{5B0CCD5D-F8FE-46E9-AFEB-B637263C4177}"/>
              </a:ext>
            </a:extLst>
          </p:cNvPr>
          <p:cNvSpPr/>
          <p:nvPr userDrawn="1"/>
        </p:nvSpPr>
        <p:spPr>
          <a:xfrm>
            <a:off x="6914608" y="1551714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8" name="Elipse 7">
            <a:extLst>
              <a:ext uri="{FF2B5EF4-FFF2-40B4-BE49-F238E27FC236}">
                <a16:creationId xmlns:a16="http://schemas.microsoft.com/office/drawing/2014/main" xmlns="" id="{F453CC41-8AD3-4D5D-9929-6467AB8814B7}"/>
              </a:ext>
            </a:extLst>
          </p:cNvPr>
          <p:cNvSpPr/>
          <p:nvPr userDrawn="1"/>
        </p:nvSpPr>
        <p:spPr>
          <a:xfrm>
            <a:off x="7745684" y="1551714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9" name="Elipse 8">
            <a:extLst>
              <a:ext uri="{FF2B5EF4-FFF2-40B4-BE49-F238E27FC236}">
                <a16:creationId xmlns:a16="http://schemas.microsoft.com/office/drawing/2014/main" xmlns="" id="{9D98699E-645E-4173-9266-81DB3F2D0884}"/>
              </a:ext>
            </a:extLst>
          </p:cNvPr>
          <p:cNvSpPr/>
          <p:nvPr userDrawn="1"/>
        </p:nvSpPr>
        <p:spPr>
          <a:xfrm>
            <a:off x="8576760" y="1551714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10" name="Elipse 9">
            <a:extLst>
              <a:ext uri="{FF2B5EF4-FFF2-40B4-BE49-F238E27FC236}">
                <a16:creationId xmlns:a16="http://schemas.microsoft.com/office/drawing/2014/main" xmlns="" id="{394B2C09-6088-4DB3-B6BE-3C558ABF3121}"/>
              </a:ext>
            </a:extLst>
          </p:cNvPr>
          <p:cNvSpPr/>
          <p:nvPr userDrawn="1"/>
        </p:nvSpPr>
        <p:spPr>
          <a:xfrm>
            <a:off x="9407836" y="1551714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11" name="Elipse 10">
            <a:extLst>
              <a:ext uri="{FF2B5EF4-FFF2-40B4-BE49-F238E27FC236}">
                <a16:creationId xmlns:a16="http://schemas.microsoft.com/office/drawing/2014/main" xmlns="" id="{4A59B7F2-9EF3-4F98-B564-CB9ED8EDD41C}"/>
              </a:ext>
            </a:extLst>
          </p:cNvPr>
          <p:cNvSpPr/>
          <p:nvPr userDrawn="1"/>
        </p:nvSpPr>
        <p:spPr>
          <a:xfrm>
            <a:off x="10238912" y="1551714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12" name="Elipse 11">
            <a:extLst>
              <a:ext uri="{FF2B5EF4-FFF2-40B4-BE49-F238E27FC236}">
                <a16:creationId xmlns:a16="http://schemas.microsoft.com/office/drawing/2014/main" xmlns="" id="{7B6D7B75-9593-49FB-A362-06E63458EA03}"/>
              </a:ext>
            </a:extLst>
          </p:cNvPr>
          <p:cNvSpPr/>
          <p:nvPr userDrawn="1"/>
        </p:nvSpPr>
        <p:spPr>
          <a:xfrm>
            <a:off x="11069988" y="1551714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13" name="Elipse 12">
            <a:extLst>
              <a:ext uri="{FF2B5EF4-FFF2-40B4-BE49-F238E27FC236}">
                <a16:creationId xmlns:a16="http://schemas.microsoft.com/office/drawing/2014/main" xmlns="" id="{373FE88D-30E1-4733-97F1-B2047E02F404}"/>
              </a:ext>
            </a:extLst>
          </p:cNvPr>
          <p:cNvSpPr/>
          <p:nvPr userDrawn="1"/>
        </p:nvSpPr>
        <p:spPr>
          <a:xfrm>
            <a:off x="11901064" y="1551714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14" name="Elipse 13">
            <a:extLst>
              <a:ext uri="{FF2B5EF4-FFF2-40B4-BE49-F238E27FC236}">
                <a16:creationId xmlns:a16="http://schemas.microsoft.com/office/drawing/2014/main" xmlns="" id="{389D2345-4DBF-48A6-BD9D-9F07C187C64E}"/>
              </a:ext>
            </a:extLst>
          </p:cNvPr>
          <p:cNvSpPr/>
          <p:nvPr userDrawn="1"/>
        </p:nvSpPr>
        <p:spPr>
          <a:xfrm>
            <a:off x="12732140" y="1551714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15" name="Elipse 14">
            <a:extLst>
              <a:ext uri="{FF2B5EF4-FFF2-40B4-BE49-F238E27FC236}">
                <a16:creationId xmlns:a16="http://schemas.microsoft.com/office/drawing/2014/main" xmlns="" id="{684788C2-7720-4CB1-A777-52576DDE8307}"/>
              </a:ext>
            </a:extLst>
          </p:cNvPr>
          <p:cNvSpPr/>
          <p:nvPr userDrawn="1"/>
        </p:nvSpPr>
        <p:spPr>
          <a:xfrm>
            <a:off x="13563216" y="1551714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16" name="Elipse 15">
            <a:extLst>
              <a:ext uri="{FF2B5EF4-FFF2-40B4-BE49-F238E27FC236}">
                <a16:creationId xmlns:a16="http://schemas.microsoft.com/office/drawing/2014/main" xmlns="" id="{E5251E5E-4D39-4669-87F4-376CDAEBC799}"/>
              </a:ext>
            </a:extLst>
          </p:cNvPr>
          <p:cNvSpPr/>
          <p:nvPr userDrawn="1"/>
        </p:nvSpPr>
        <p:spPr>
          <a:xfrm>
            <a:off x="14394292" y="1551714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17" name="Elipse 16">
            <a:extLst>
              <a:ext uri="{FF2B5EF4-FFF2-40B4-BE49-F238E27FC236}">
                <a16:creationId xmlns:a16="http://schemas.microsoft.com/office/drawing/2014/main" xmlns="" id="{714D276F-422E-4FDB-A119-2A263712E0D4}"/>
              </a:ext>
            </a:extLst>
          </p:cNvPr>
          <p:cNvSpPr/>
          <p:nvPr userDrawn="1"/>
        </p:nvSpPr>
        <p:spPr>
          <a:xfrm>
            <a:off x="15225368" y="1551714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18" name="Elipse 17">
            <a:extLst>
              <a:ext uri="{FF2B5EF4-FFF2-40B4-BE49-F238E27FC236}">
                <a16:creationId xmlns:a16="http://schemas.microsoft.com/office/drawing/2014/main" xmlns="" id="{58FE1662-284E-40BF-BA92-5264267FD51D}"/>
              </a:ext>
            </a:extLst>
          </p:cNvPr>
          <p:cNvSpPr/>
          <p:nvPr userDrawn="1"/>
        </p:nvSpPr>
        <p:spPr>
          <a:xfrm>
            <a:off x="16056444" y="1551714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19" name="Elipse 18">
            <a:extLst>
              <a:ext uri="{FF2B5EF4-FFF2-40B4-BE49-F238E27FC236}">
                <a16:creationId xmlns:a16="http://schemas.microsoft.com/office/drawing/2014/main" xmlns="" id="{09EADD45-363D-4F23-A36F-7CEA98CE6BCC}"/>
              </a:ext>
            </a:extLst>
          </p:cNvPr>
          <p:cNvSpPr/>
          <p:nvPr userDrawn="1"/>
        </p:nvSpPr>
        <p:spPr>
          <a:xfrm>
            <a:off x="16887520" y="1551714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20" name="Elipse 19">
            <a:extLst>
              <a:ext uri="{FF2B5EF4-FFF2-40B4-BE49-F238E27FC236}">
                <a16:creationId xmlns:a16="http://schemas.microsoft.com/office/drawing/2014/main" xmlns="" id="{503ECEBD-C273-48B8-9C6F-4246848A4FF4}"/>
              </a:ext>
            </a:extLst>
          </p:cNvPr>
          <p:cNvSpPr/>
          <p:nvPr userDrawn="1"/>
        </p:nvSpPr>
        <p:spPr>
          <a:xfrm>
            <a:off x="17718596" y="1551714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21" name="Elipse 20">
            <a:extLst>
              <a:ext uri="{FF2B5EF4-FFF2-40B4-BE49-F238E27FC236}">
                <a16:creationId xmlns:a16="http://schemas.microsoft.com/office/drawing/2014/main" xmlns="" id="{FC89E064-D76E-4034-BC14-1F63B29F89F0}"/>
              </a:ext>
            </a:extLst>
          </p:cNvPr>
          <p:cNvSpPr/>
          <p:nvPr userDrawn="1"/>
        </p:nvSpPr>
        <p:spPr>
          <a:xfrm>
            <a:off x="18549672" y="1551714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22" name="Elipse 21">
            <a:extLst>
              <a:ext uri="{FF2B5EF4-FFF2-40B4-BE49-F238E27FC236}">
                <a16:creationId xmlns:a16="http://schemas.microsoft.com/office/drawing/2014/main" xmlns="" id="{2B09BFAE-607C-4B49-9322-576F3550E2A7}"/>
              </a:ext>
            </a:extLst>
          </p:cNvPr>
          <p:cNvSpPr/>
          <p:nvPr userDrawn="1"/>
        </p:nvSpPr>
        <p:spPr>
          <a:xfrm>
            <a:off x="19380748" y="1551714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23" name="Elipse 22">
            <a:extLst>
              <a:ext uri="{FF2B5EF4-FFF2-40B4-BE49-F238E27FC236}">
                <a16:creationId xmlns:a16="http://schemas.microsoft.com/office/drawing/2014/main" xmlns="" id="{8C5174E2-5337-474D-A3AA-CB0F14611F9A}"/>
              </a:ext>
            </a:extLst>
          </p:cNvPr>
          <p:cNvSpPr/>
          <p:nvPr userDrawn="1"/>
        </p:nvSpPr>
        <p:spPr>
          <a:xfrm>
            <a:off x="20211824" y="1551714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24" name="Elipse 23">
            <a:extLst>
              <a:ext uri="{FF2B5EF4-FFF2-40B4-BE49-F238E27FC236}">
                <a16:creationId xmlns:a16="http://schemas.microsoft.com/office/drawing/2014/main" xmlns="" id="{C6457CDC-DDC9-4507-B77C-36757E5E0D0A}"/>
              </a:ext>
            </a:extLst>
          </p:cNvPr>
          <p:cNvSpPr/>
          <p:nvPr userDrawn="1"/>
        </p:nvSpPr>
        <p:spPr>
          <a:xfrm>
            <a:off x="21042900" y="1551714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25" name="Elipse 24">
            <a:extLst>
              <a:ext uri="{FF2B5EF4-FFF2-40B4-BE49-F238E27FC236}">
                <a16:creationId xmlns:a16="http://schemas.microsoft.com/office/drawing/2014/main" xmlns="" id="{4C76AD3F-CCF0-4DFF-A1E2-352A299B3853}"/>
              </a:ext>
            </a:extLst>
          </p:cNvPr>
          <p:cNvSpPr/>
          <p:nvPr userDrawn="1"/>
        </p:nvSpPr>
        <p:spPr>
          <a:xfrm>
            <a:off x="21873976" y="1551714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26" name="Elipse 25">
            <a:extLst>
              <a:ext uri="{FF2B5EF4-FFF2-40B4-BE49-F238E27FC236}">
                <a16:creationId xmlns:a16="http://schemas.microsoft.com/office/drawing/2014/main" xmlns="" id="{EB820E7C-2AA6-4B5A-8E91-BFC256D825D4}"/>
              </a:ext>
            </a:extLst>
          </p:cNvPr>
          <p:cNvSpPr/>
          <p:nvPr userDrawn="1"/>
        </p:nvSpPr>
        <p:spPr>
          <a:xfrm>
            <a:off x="22705052" y="1551714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27" name="Elipse 26">
            <a:extLst>
              <a:ext uri="{FF2B5EF4-FFF2-40B4-BE49-F238E27FC236}">
                <a16:creationId xmlns:a16="http://schemas.microsoft.com/office/drawing/2014/main" xmlns="" id="{67453B7B-79E4-4017-A5CB-18A3ADC02068}"/>
              </a:ext>
            </a:extLst>
          </p:cNvPr>
          <p:cNvSpPr/>
          <p:nvPr userDrawn="1"/>
        </p:nvSpPr>
        <p:spPr>
          <a:xfrm>
            <a:off x="23536118" y="1551714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28" name="Elipse 27">
            <a:extLst>
              <a:ext uri="{FF2B5EF4-FFF2-40B4-BE49-F238E27FC236}">
                <a16:creationId xmlns:a16="http://schemas.microsoft.com/office/drawing/2014/main" xmlns="" id="{8646640B-34CE-42A6-944E-CCA365213DCF}"/>
              </a:ext>
            </a:extLst>
          </p:cNvPr>
          <p:cNvSpPr/>
          <p:nvPr userDrawn="1"/>
        </p:nvSpPr>
        <p:spPr>
          <a:xfrm>
            <a:off x="12153610" y="2744796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29" name="Elipse 28">
            <a:extLst>
              <a:ext uri="{FF2B5EF4-FFF2-40B4-BE49-F238E27FC236}">
                <a16:creationId xmlns:a16="http://schemas.microsoft.com/office/drawing/2014/main" xmlns="" id="{7718146B-2192-46B6-92D7-B8F05D4722A5}"/>
              </a:ext>
            </a:extLst>
          </p:cNvPr>
          <p:cNvSpPr/>
          <p:nvPr userDrawn="1"/>
        </p:nvSpPr>
        <p:spPr>
          <a:xfrm>
            <a:off x="12984686" y="2744796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30" name="Elipse 29">
            <a:extLst>
              <a:ext uri="{FF2B5EF4-FFF2-40B4-BE49-F238E27FC236}">
                <a16:creationId xmlns:a16="http://schemas.microsoft.com/office/drawing/2014/main" xmlns="" id="{582A7B41-8AFE-4FAE-A838-D3329715D0E1}"/>
              </a:ext>
            </a:extLst>
          </p:cNvPr>
          <p:cNvSpPr/>
          <p:nvPr userDrawn="1"/>
        </p:nvSpPr>
        <p:spPr>
          <a:xfrm>
            <a:off x="13815762" y="2744796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31" name="Elipse 30">
            <a:extLst>
              <a:ext uri="{FF2B5EF4-FFF2-40B4-BE49-F238E27FC236}">
                <a16:creationId xmlns:a16="http://schemas.microsoft.com/office/drawing/2014/main" xmlns="" id="{3A6FB0D5-B505-4093-8896-AB6E90253AED}"/>
              </a:ext>
            </a:extLst>
          </p:cNvPr>
          <p:cNvSpPr/>
          <p:nvPr userDrawn="1"/>
        </p:nvSpPr>
        <p:spPr>
          <a:xfrm>
            <a:off x="14646838" y="2744796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32" name="Elipse 31">
            <a:extLst>
              <a:ext uri="{FF2B5EF4-FFF2-40B4-BE49-F238E27FC236}">
                <a16:creationId xmlns:a16="http://schemas.microsoft.com/office/drawing/2014/main" xmlns="" id="{FA1CA350-F454-468E-81B2-A45C9790613B}"/>
              </a:ext>
            </a:extLst>
          </p:cNvPr>
          <p:cNvSpPr/>
          <p:nvPr userDrawn="1"/>
        </p:nvSpPr>
        <p:spPr>
          <a:xfrm>
            <a:off x="15477914" y="2744796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33" name="Elipse 32">
            <a:extLst>
              <a:ext uri="{FF2B5EF4-FFF2-40B4-BE49-F238E27FC236}">
                <a16:creationId xmlns:a16="http://schemas.microsoft.com/office/drawing/2014/main" xmlns="" id="{520071F2-7B56-4F49-A155-AE12B7E17D90}"/>
              </a:ext>
            </a:extLst>
          </p:cNvPr>
          <p:cNvSpPr/>
          <p:nvPr userDrawn="1"/>
        </p:nvSpPr>
        <p:spPr>
          <a:xfrm>
            <a:off x="16308990" y="2744796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34" name="Elipse 33">
            <a:extLst>
              <a:ext uri="{FF2B5EF4-FFF2-40B4-BE49-F238E27FC236}">
                <a16:creationId xmlns:a16="http://schemas.microsoft.com/office/drawing/2014/main" xmlns="" id="{8C695880-C7F4-4D77-9B70-C196DBC1484A}"/>
              </a:ext>
            </a:extLst>
          </p:cNvPr>
          <p:cNvSpPr/>
          <p:nvPr userDrawn="1"/>
        </p:nvSpPr>
        <p:spPr>
          <a:xfrm>
            <a:off x="17140066" y="2744796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35" name="Elipse 34">
            <a:extLst>
              <a:ext uri="{FF2B5EF4-FFF2-40B4-BE49-F238E27FC236}">
                <a16:creationId xmlns:a16="http://schemas.microsoft.com/office/drawing/2014/main" xmlns="" id="{A27C78FD-C0B5-4270-8E81-406F0C658793}"/>
              </a:ext>
            </a:extLst>
          </p:cNvPr>
          <p:cNvSpPr/>
          <p:nvPr userDrawn="1"/>
        </p:nvSpPr>
        <p:spPr>
          <a:xfrm>
            <a:off x="17971142" y="2744796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36" name="Elipse 35">
            <a:extLst>
              <a:ext uri="{FF2B5EF4-FFF2-40B4-BE49-F238E27FC236}">
                <a16:creationId xmlns:a16="http://schemas.microsoft.com/office/drawing/2014/main" xmlns="" id="{FE2DAAA0-0B36-4FA3-B635-6A9EFA50964F}"/>
              </a:ext>
            </a:extLst>
          </p:cNvPr>
          <p:cNvSpPr/>
          <p:nvPr userDrawn="1"/>
        </p:nvSpPr>
        <p:spPr>
          <a:xfrm>
            <a:off x="18802218" y="2744796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37" name="Elipse 36">
            <a:extLst>
              <a:ext uri="{FF2B5EF4-FFF2-40B4-BE49-F238E27FC236}">
                <a16:creationId xmlns:a16="http://schemas.microsoft.com/office/drawing/2014/main" xmlns="" id="{A765F177-0FDA-4621-AB58-2D43B861C682}"/>
              </a:ext>
            </a:extLst>
          </p:cNvPr>
          <p:cNvSpPr/>
          <p:nvPr userDrawn="1"/>
        </p:nvSpPr>
        <p:spPr>
          <a:xfrm>
            <a:off x="19633294" y="2744796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38" name="Elipse 37">
            <a:extLst>
              <a:ext uri="{FF2B5EF4-FFF2-40B4-BE49-F238E27FC236}">
                <a16:creationId xmlns:a16="http://schemas.microsoft.com/office/drawing/2014/main" xmlns="" id="{111F2337-AD68-4913-A150-132B29362E8A}"/>
              </a:ext>
            </a:extLst>
          </p:cNvPr>
          <p:cNvSpPr/>
          <p:nvPr userDrawn="1"/>
        </p:nvSpPr>
        <p:spPr>
          <a:xfrm>
            <a:off x="20464370" y="2744796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39" name="Elipse 38">
            <a:extLst>
              <a:ext uri="{FF2B5EF4-FFF2-40B4-BE49-F238E27FC236}">
                <a16:creationId xmlns:a16="http://schemas.microsoft.com/office/drawing/2014/main" xmlns="" id="{474AEC31-1CDA-421F-B434-BF5C421210FD}"/>
              </a:ext>
            </a:extLst>
          </p:cNvPr>
          <p:cNvSpPr/>
          <p:nvPr userDrawn="1"/>
        </p:nvSpPr>
        <p:spPr>
          <a:xfrm>
            <a:off x="21295446" y="2744796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40" name="Elipse 39">
            <a:extLst>
              <a:ext uri="{FF2B5EF4-FFF2-40B4-BE49-F238E27FC236}">
                <a16:creationId xmlns:a16="http://schemas.microsoft.com/office/drawing/2014/main" xmlns="" id="{D280EB68-24F1-402A-A5E4-CAD2F3F147E3}"/>
              </a:ext>
            </a:extLst>
          </p:cNvPr>
          <p:cNvSpPr/>
          <p:nvPr userDrawn="1"/>
        </p:nvSpPr>
        <p:spPr>
          <a:xfrm>
            <a:off x="22126522" y="2744796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41" name="Elipse 40">
            <a:extLst>
              <a:ext uri="{FF2B5EF4-FFF2-40B4-BE49-F238E27FC236}">
                <a16:creationId xmlns:a16="http://schemas.microsoft.com/office/drawing/2014/main" xmlns="" id="{CADDB5CD-0727-41A6-BD5E-ADBA2F238072}"/>
              </a:ext>
            </a:extLst>
          </p:cNvPr>
          <p:cNvSpPr/>
          <p:nvPr userDrawn="1"/>
        </p:nvSpPr>
        <p:spPr>
          <a:xfrm>
            <a:off x="22957598" y="2744796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42" name="Elipse 41">
            <a:extLst>
              <a:ext uri="{FF2B5EF4-FFF2-40B4-BE49-F238E27FC236}">
                <a16:creationId xmlns:a16="http://schemas.microsoft.com/office/drawing/2014/main" xmlns="" id="{22AF9F24-0E2E-4C31-AAB2-6FA2E1627717}"/>
              </a:ext>
            </a:extLst>
          </p:cNvPr>
          <p:cNvSpPr/>
          <p:nvPr userDrawn="1"/>
        </p:nvSpPr>
        <p:spPr>
          <a:xfrm>
            <a:off x="23788664" y="2744796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43" name="Elipse 42">
            <a:extLst>
              <a:ext uri="{FF2B5EF4-FFF2-40B4-BE49-F238E27FC236}">
                <a16:creationId xmlns:a16="http://schemas.microsoft.com/office/drawing/2014/main" xmlns="" id="{8BE1980F-D854-4BF4-AFB9-29AD6C2003F8}"/>
              </a:ext>
            </a:extLst>
          </p:cNvPr>
          <p:cNvSpPr/>
          <p:nvPr userDrawn="1"/>
        </p:nvSpPr>
        <p:spPr>
          <a:xfrm>
            <a:off x="10299870" y="3946588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44" name="Elipse 43">
            <a:extLst>
              <a:ext uri="{FF2B5EF4-FFF2-40B4-BE49-F238E27FC236}">
                <a16:creationId xmlns:a16="http://schemas.microsoft.com/office/drawing/2014/main" xmlns="" id="{5963AF2F-3017-4914-A4AC-2CCA80DF4EA5}"/>
              </a:ext>
            </a:extLst>
          </p:cNvPr>
          <p:cNvSpPr/>
          <p:nvPr userDrawn="1"/>
        </p:nvSpPr>
        <p:spPr>
          <a:xfrm>
            <a:off x="11130946" y="3946588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45" name="Elipse 44">
            <a:extLst>
              <a:ext uri="{FF2B5EF4-FFF2-40B4-BE49-F238E27FC236}">
                <a16:creationId xmlns:a16="http://schemas.microsoft.com/office/drawing/2014/main" xmlns="" id="{C42FE0F0-EF90-4A4A-B9D3-7CCBEF45DB60}"/>
              </a:ext>
            </a:extLst>
          </p:cNvPr>
          <p:cNvSpPr/>
          <p:nvPr userDrawn="1"/>
        </p:nvSpPr>
        <p:spPr>
          <a:xfrm>
            <a:off x="11962022" y="3946588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46" name="Elipse 45">
            <a:extLst>
              <a:ext uri="{FF2B5EF4-FFF2-40B4-BE49-F238E27FC236}">
                <a16:creationId xmlns:a16="http://schemas.microsoft.com/office/drawing/2014/main" xmlns="" id="{1E8A17B8-E698-4070-92DF-CBE7167CD24A}"/>
              </a:ext>
            </a:extLst>
          </p:cNvPr>
          <p:cNvSpPr/>
          <p:nvPr userDrawn="1"/>
        </p:nvSpPr>
        <p:spPr>
          <a:xfrm>
            <a:off x="12793098" y="3946588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47" name="Elipse 46">
            <a:extLst>
              <a:ext uri="{FF2B5EF4-FFF2-40B4-BE49-F238E27FC236}">
                <a16:creationId xmlns:a16="http://schemas.microsoft.com/office/drawing/2014/main" xmlns="" id="{84E2CC09-2CD2-4258-9135-DFBEB0939A06}"/>
              </a:ext>
            </a:extLst>
          </p:cNvPr>
          <p:cNvSpPr/>
          <p:nvPr userDrawn="1"/>
        </p:nvSpPr>
        <p:spPr>
          <a:xfrm>
            <a:off x="13624174" y="3946588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48" name="Elipse 47">
            <a:extLst>
              <a:ext uri="{FF2B5EF4-FFF2-40B4-BE49-F238E27FC236}">
                <a16:creationId xmlns:a16="http://schemas.microsoft.com/office/drawing/2014/main" xmlns="" id="{EAD25D91-3D2B-4440-9248-9703A2518C46}"/>
              </a:ext>
            </a:extLst>
          </p:cNvPr>
          <p:cNvSpPr/>
          <p:nvPr userDrawn="1"/>
        </p:nvSpPr>
        <p:spPr>
          <a:xfrm>
            <a:off x="14455250" y="3946588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49" name="Elipse 48">
            <a:extLst>
              <a:ext uri="{FF2B5EF4-FFF2-40B4-BE49-F238E27FC236}">
                <a16:creationId xmlns:a16="http://schemas.microsoft.com/office/drawing/2014/main" xmlns="" id="{829C2AD1-B9DE-43A0-89EB-EA25DE82A494}"/>
              </a:ext>
            </a:extLst>
          </p:cNvPr>
          <p:cNvSpPr/>
          <p:nvPr userDrawn="1"/>
        </p:nvSpPr>
        <p:spPr>
          <a:xfrm>
            <a:off x="15286326" y="3946588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50" name="Elipse 49">
            <a:extLst>
              <a:ext uri="{FF2B5EF4-FFF2-40B4-BE49-F238E27FC236}">
                <a16:creationId xmlns:a16="http://schemas.microsoft.com/office/drawing/2014/main" xmlns="" id="{4642822C-65E2-499E-B3A3-CA08347D3ED1}"/>
              </a:ext>
            </a:extLst>
          </p:cNvPr>
          <p:cNvSpPr/>
          <p:nvPr userDrawn="1"/>
        </p:nvSpPr>
        <p:spPr>
          <a:xfrm>
            <a:off x="16117402" y="3946588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51" name="Elipse 50">
            <a:extLst>
              <a:ext uri="{FF2B5EF4-FFF2-40B4-BE49-F238E27FC236}">
                <a16:creationId xmlns:a16="http://schemas.microsoft.com/office/drawing/2014/main" xmlns="" id="{368A35A5-62BF-48A0-A52E-21370E636954}"/>
              </a:ext>
            </a:extLst>
          </p:cNvPr>
          <p:cNvSpPr/>
          <p:nvPr userDrawn="1"/>
        </p:nvSpPr>
        <p:spPr>
          <a:xfrm>
            <a:off x="16948478" y="3946588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52" name="Elipse 51">
            <a:extLst>
              <a:ext uri="{FF2B5EF4-FFF2-40B4-BE49-F238E27FC236}">
                <a16:creationId xmlns:a16="http://schemas.microsoft.com/office/drawing/2014/main" xmlns="" id="{EDD6FB9B-A220-413C-A414-A1156B40075C}"/>
              </a:ext>
            </a:extLst>
          </p:cNvPr>
          <p:cNvSpPr/>
          <p:nvPr userDrawn="1"/>
        </p:nvSpPr>
        <p:spPr>
          <a:xfrm>
            <a:off x="17779554" y="3946588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53" name="Elipse 52">
            <a:extLst>
              <a:ext uri="{FF2B5EF4-FFF2-40B4-BE49-F238E27FC236}">
                <a16:creationId xmlns:a16="http://schemas.microsoft.com/office/drawing/2014/main" xmlns="" id="{028E9D9B-DD55-4253-970D-74A1A7075116}"/>
              </a:ext>
            </a:extLst>
          </p:cNvPr>
          <p:cNvSpPr/>
          <p:nvPr userDrawn="1"/>
        </p:nvSpPr>
        <p:spPr>
          <a:xfrm>
            <a:off x="18610630" y="3946588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54" name="Elipse 53">
            <a:extLst>
              <a:ext uri="{FF2B5EF4-FFF2-40B4-BE49-F238E27FC236}">
                <a16:creationId xmlns:a16="http://schemas.microsoft.com/office/drawing/2014/main" xmlns="" id="{178941B1-4BCA-4091-9500-95D26A1FDE39}"/>
              </a:ext>
            </a:extLst>
          </p:cNvPr>
          <p:cNvSpPr/>
          <p:nvPr userDrawn="1"/>
        </p:nvSpPr>
        <p:spPr>
          <a:xfrm>
            <a:off x="19441706" y="3946588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55" name="Elipse 54">
            <a:extLst>
              <a:ext uri="{FF2B5EF4-FFF2-40B4-BE49-F238E27FC236}">
                <a16:creationId xmlns:a16="http://schemas.microsoft.com/office/drawing/2014/main" xmlns="" id="{F8BE1A02-90D4-4695-B94E-12F8A5E71BBD}"/>
              </a:ext>
            </a:extLst>
          </p:cNvPr>
          <p:cNvSpPr/>
          <p:nvPr userDrawn="1"/>
        </p:nvSpPr>
        <p:spPr>
          <a:xfrm>
            <a:off x="20272782" y="3946588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56" name="Elipse 55">
            <a:extLst>
              <a:ext uri="{FF2B5EF4-FFF2-40B4-BE49-F238E27FC236}">
                <a16:creationId xmlns:a16="http://schemas.microsoft.com/office/drawing/2014/main" xmlns="" id="{B7B42494-B839-4D75-B382-F65F3DD35312}"/>
              </a:ext>
            </a:extLst>
          </p:cNvPr>
          <p:cNvSpPr/>
          <p:nvPr userDrawn="1"/>
        </p:nvSpPr>
        <p:spPr>
          <a:xfrm>
            <a:off x="21103858" y="3946588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57" name="Elipse 56">
            <a:extLst>
              <a:ext uri="{FF2B5EF4-FFF2-40B4-BE49-F238E27FC236}">
                <a16:creationId xmlns:a16="http://schemas.microsoft.com/office/drawing/2014/main" xmlns="" id="{E35379AD-E375-47F8-89C1-08A8F466EFC5}"/>
              </a:ext>
            </a:extLst>
          </p:cNvPr>
          <p:cNvSpPr/>
          <p:nvPr userDrawn="1"/>
        </p:nvSpPr>
        <p:spPr>
          <a:xfrm>
            <a:off x="21934934" y="3946588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58" name="Elipse 57">
            <a:extLst>
              <a:ext uri="{FF2B5EF4-FFF2-40B4-BE49-F238E27FC236}">
                <a16:creationId xmlns:a16="http://schemas.microsoft.com/office/drawing/2014/main" xmlns="" id="{36D49F1B-3EE1-44EC-B928-0906205BECA3}"/>
              </a:ext>
            </a:extLst>
          </p:cNvPr>
          <p:cNvSpPr/>
          <p:nvPr userDrawn="1"/>
        </p:nvSpPr>
        <p:spPr>
          <a:xfrm>
            <a:off x="22766010" y="3946588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59" name="Elipse 58">
            <a:extLst>
              <a:ext uri="{FF2B5EF4-FFF2-40B4-BE49-F238E27FC236}">
                <a16:creationId xmlns:a16="http://schemas.microsoft.com/office/drawing/2014/main" xmlns="" id="{40D3DBAF-5DC8-4AD1-9D36-18D31DBAFEF1}"/>
              </a:ext>
            </a:extLst>
          </p:cNvPr>
          <p:cNvSpPr/>
          <p:nvPr userDrawn="1"/>
        </p:nvSpPr>
        <p:spPr>
          <a:xfrm>
            <a:off x="23597076" y="3946588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</p:spTree>
    <p:extLst>
      <p:ext uri="{BB962C8B-B14F-4D97-AF65-F5344CB8AC3E}">
        <p14:creationId xmlns:p14="http://schemas.microsoft.com/office/powerpoint/2010/main" val="576510969"/>
      </p:ext>
    </p:extLst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exto do Título"/>
          <p:cNvSpPr>
            <a:spLocks noGrp="1"/>
          </p:cNvSpPr>
          <p:nvPr>
            <p:ph type="title"/>
          </p:nvPr>
        </p:nvSpPr>
        <p:spPr>
          <a:xfrm>
            <a:off x="1679575" y="730250"/>
            <a:ext cx="21031201" cy="2651126"/>
          </a:xfrm>
          <a:prstGeom prst="rect">
            <a:avLst/>
          </a:prstGeom>
        </p:spPr>
        <p:txBody>
          <a:bodyPr/>
          <a:lstStyle/>
          <a:p>
            <a:r>
              <a:t>Texto do Título</a:t>
            </a:r>
          </a:p>
        </p:txBody>
      </p:sp>
      <p:sp>
        <p:nvSpPr>
          <p:cNvPr id="48" name="Nível de Corpo Um…"/>
          <p:cNvSpPr>
            <a:spLocks noGrp="1"/>
          </p:cNvSpPr>
          <p:nvPr>
            <p:ph type="body" sz="quarter" idx="1"/>
          </p:nvPr>
        </p:nvSpPr>
        <p:spPr>
          <a:xfrm>
            <a:off x="1679575" y="3362326"/>
            <a:ext cx="10315576" cy="1647825"/>
          </a:xfrm>
          <a:prstGeom prst="rect">
            <a:avLst/>
          </a:prstGeom>
        </p:spPr>
        <p:txBody>
          <a:bodyPr anchor="b"/>
          <a:lstStyle>
            <a:lvl1pPr marL="0" indent="0">
              <a:buSzTx/>
              <a:buFontTx/>
              <a:buNone/>
              <a:defRPr sz="4800" b="1">
                <a:latin typeface="Helvetica"/>
                <a:ea typeface="Helvetica"/>
                <a:cs typeface="Helvetica"/>
                <a:sym typeface="Helvetica"/>
              </a:defRPr>
            </a:lvl1pPr>
            <a:lvl2pPr marL="0" indent="457200">
              <a:buSzTx/>
              <a:buFontTx/>
              <a:buNone/>
              <a:defRPr sz="4800" b="1">
                <a:latin typeface="Helvetica"/>
                <a:ea typeface="Helvetica"/>
                <a:cs typeface="Helvetica"/>
                <a:sym typeface="Helvetica"/>
              </a:defRPr>
            </a:lvl2pPr>
            <a:lvl3pPr marL="0" indent="914400">
              <a:buSzTx/>
              <a:buFontTx/>
              <a:buNone/>
              <a:defRPr sz="4800" b="1">
                <a:latin typeface="Helvetica"/>
                <a:ea typeface="Helvetica"/>
                <a:cs typeface="Helvetica"/>
                <a:sym typeface="Helvetica"/>
              </a:defRPr>
            </a:lvl3pPr>
            <a:lvl4pPr marL="0" indent="1371600">
              <a:buSzTx/>
              <a:buFontTx/>
              <a:buNone/>
              <a:defRPr sz="4800" b="1">
                <a:latin typeface="Helvetica"/>
                <a:ea typeface="Helvetica"/>
                <a:cs typeface="Helvetica"/>
                <a:sym typeface="Helvetica"/>
              </a:defRPr>
            </a:lvl4pPr>
            <a:lvl5pPr marL="0" indent="1828800">
              <a:buSzTx/>
              <a:buFontTx/>
              <a:buNone/>
              <a:defRPr sz="4800" b="1">
                <a:latin typeface="Helvetica"/>
                <a:ea typeface="Helvetica"/>
                <a:cs typeface="Helvetica"/>
                <a:sym typeface="Helvetica"/>
              </a:defRPr>
            </a:lvl5pPr>
          </a:lstStyle>
          <a:p>
            <a:r>
              <a:t>Nível de Corpo Um</a:t>
            </a:r>
          </a:p>
          <a:p>
            <a:pPr lvl="1"/>
            <a:r>
              <a:t>Nível de Corpo Dois</a:t>
            </a:r>
          </a:p>
          <a:p>
            <a:pPr lvl="2"/>
            <a:r>
              <a:t>Nível de Corpo Três</a:t>
            </a:r>
          </a:p>
          <a:p>
            <a:pPr lvl="3"/>
            <a:r>
              <a:t>Nível de Corpo Quatro</a:t>
            </a:r>
          </a:p>
          <a:p>
            <a:pPr lvl="4"/>
            <a:r>
              <a:t>Nível de Corpo Cinco</a:t>
            </a:r>
          </a:p>
        </p:txBody>
      </p:sp>
      <p:sp>
        <p:nvSpPr>
          <p:cNvPr id="49" name="Espaço Reservado para Texto 4"/>
          <p:cNvSpPr>
            <a:spLocks noGrp="1"/>
          </p:cNvSpPr>
          <p:nvPr>
            <p:ph type="body" sz="quarter" idx="13"/>
          </p:nvPr>
        </p:nvSpPr>
        <p:spPr>
          <a:xfrm>
            <a:off x="12344400" y="3362326"/>
            <a:ext cx="10366376" cy="1647825"/>
          </a:xfrm>
          <a:prstGeom prst="rect">
            <a:avLst/>
          </a:prstGeom>
          <a:ln w="12700"/>
        </p:spPr>
        <p:txBody>
          <a:bodyPr anchor="b"/>
          <a:lstStyle/>
          <a:p>
            <a:pPr marL="0" indent="0">
              <a:buSzTx/>
              <a:buFontTx/>
              <a:buNone/>
              <a:defRPr sz="4800" b="1">
                <a:latin typeface="Helvetica"/>
                <a:ea typeface="Helvetica"/>
                <a:cs typeface="Helvetica"/>
                <a:sym typeface="Helvetica"/>
              </a:defRPr>
            </a:pPr>
            <a:endParaRPr/>
          </a:p>
        </p:txBody>
      </p:sp>
      <p:sp>
        <p:nvSpPr>
          <p:cNvPr id="50" name="Número do Slide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Número de Slide 1">
            <a:extLst>
              <a:ext uri="{FF2B5EF4-FFF2-40B4-BE49-F238E27FC236}">
                <a16:creationId xmlns:a16="http://schemas.microsoft.com/office/drawing/2014/main" xmlns="" id="{ECB9306C-9475-4F62-B3B1-047DFCB5033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CB4B4D-7CA3-9044-876B-883B54F8677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58275086"/>
      </p:ext>
    </p:extLst>
  </p:cSld>
  <p:clrMapOvr>
    <a:masterClrMapping/>
  </p:clrMapOvr>
  <p:transition spd="med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o do Título"/>
          <p:cNvSpPr>
            <a:spLocks noGrp="1"/>
          </p:cNvSpPr>
          <p:nvPr>
            <p:ph type="title"/>
          </p:nvPr>
        </p:nvSpPr>
        <p:spPr>
          <a:xfrm>
            <a:off x="3048000" y="2244725"/>
            <a:ext cx="18288000" cy="4775201"/>
          </a:xfrm>
          <a:prstGeom prst="rect">
            <a:avLst/>
          </a:prstGeom>
        </p:spPr>
        <p:txBody>
          <a:bodyPr anchor="b"/>
          <a:lstStyle>
            <a:lvl1pPr algn="ctr">
              <a:defRPr sz="12000"/>
            </a:lvl1pPr>
          </a:lstStyle>
          <a:p>
            <a:r>
              <a:t>Texto do Título</a:t>
            </a:r>
          </a:p>
        </p:txBody>
      </p:sp>
      <p:sp>
        <p:nvSpPr>
          <p:cNvPr id="12" name="Nível de Corpo Um…"/>
          <p:cNvSpPr>
            <a:spLocks noGrp="1"/>
          </p:cNvSpPr>
          <p:nvPr>
            <p:ph type="body" sz="quarter" idx="1"/>
          </p:nvPr>
        </p:nvSpPr>
        <p:spPr>
          <a:xfrm>
            <a:off x="3048000" y="7204075"/>
            <a:ext cx="18288000" cy="3311525"/>
          </a:xfrm>
          <a:prstGeom prst="rect">
            <a:avLst/>
          </a:prstGeom>
        </p:spPr>
        <p:txBody>
          <a:bodyPr/>
          <a:lstStyle>
            <a:lvl1pPr marL="0" indent="0" algn="ctr">
              <a:buSzTx/>
              <a:buFontTx/>
              <a:buNone/>
              <a:defRPr sz="4800"/>
            </a:lvl1pPr>
            <a:lvl2pPr marL="0" indent="457200" algn="ctr">
              <a:buSzTx/>
              <a:buFontTx/>
              <a:buNone/>
              <a:defRPr sz="4800"/>
            </a:lvl2pPr>
            <a:lvl3pPr marL="0" indent="914400" algn="ctr">
              <a:buSzTx/>
              <a:buFontTx/>
              <a:buNone/>
              <a:defRPr sz="4800"/>
            </a:lvl3pPr>
            <a:lvl4pPr marL="0" indent="1371600" algn="ctr">
              <a:buSzTx/>
              <a:buFontTx/>
              <a:buNone/>
              <a:defRPr sz="4800"/>
            </a:lvl4pPr>
            <a:lvl5pPr marL="0" indent="1828800" algn="ctr">
              <a:buSzTx/>
              <a:buFontTx/>
              <a:buNone/>
              <a:defRPr sz="4800"/>
            </a:lvl5pPr>
          </a:lstStyle>
          <a:p>
            <a:r>
              <a:t>Nível de Corpo Um</a:t>
            </a:r>
          </a:p>
          <a:p>
            <a:pPr lvl="1"/>
            <a:r>
              <a:t>Nível de Corpo Dois</a:t>
            </a:r>
          </a:p>
          <a:p>
            <a:pPr lvl="2"/>
            <a:r>
              <a:t>Nível de Corpo Três</a:t>
            </a:r>
          </a:p>
          <a:p>
            <a:pPr lvl="3"/>
            <a:r>
              <a:t>Nível de Corpo Quatro</a:t>
            </a:r>
          </a:p>
          <a:p>
            <a:pPr lvl="4"/>
            <a:r>
              <a:t>Nível de Corpo Cinco</a:t>
            </a:r>
          </a:p>
        </p:txBody>
      </p:sp>
      <p:sp>
        <p:nvSpPr>
          <p:cNvPr id="13" name="Número do Slide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57637075"/>
      </p:ext>
    </p:extLst>
  </p:cSld>
  <p:clrMapOvr>
    <a:masterClrMapping/>
  </p:clrMapOvr>
  <p:transition spd="med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Google Shape;97;p22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6000000" cy="6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8" name="Google Shape;98;p22"/>
          <p:cNvSpPr txBox="1">
            <a:spLocks noGrp="1"/>
          </p:cNvSpPr>
          <p:nvPr>
            <p:ph type="ftr" idx="11"/>
          </p:nvPr>
        </p:nvSpPr>
        <p:spPr>
          <a:xfrm>
            <a:off x="0" y="0"/>
            <a:ext cx="6000000" cy="6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9" name="Google Shape;99;p22"/>
          <p:cNvSpPr txBox="1">
            <a:spLocks noGrp="1"/>
          </p:cNvSpPr>
          <p:nvPr>
            <p:ph type="sldNum" idx="12"/>
          </p:nvPr>
        </p:nvSpPr>
        <p:spPr>
          <a:xfrm>
            <a:off x="0" y="0"/>
            <a:ext cx="6000000" cy="6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l" rtl="0">
              <a:spcBef>
                <a:spcPts val="0"/>
              </a:spcBef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spcBef>
                <a:spcPts val="0"/>
              </a:spcBef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spcBef>
                <a:spcPts val="0"/>
              </a:spcBef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spcBef>
                <a:spcPts val="0"/>
              </a:spcBef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spcBef>
                <a:spcPts val="0"/>
              </a:spcBef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spcBef>
                <a:spcPts val="0"/>
              </a:spcBef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spcBef>
                <a:spcPts val="0"/>
              </a:spcBef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spcBef>
                <a:spcPts val="0"/>
              </a:spcBef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spcBef>
                <a:spcPts val="0"/>
              </a:spcBef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3788098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Custom Layout">
  <p:cSld name="2_Custom Layout">
    <p:spTree>
      <p:nvGrpSpPr>
        <p:cNvPr id="1" name="Shape 1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Google Shape;105;p41"/>
          <p:cNvSpPr>
            <a:spLocks noGrp="1"/>
          </p:cNvSpPr>
          <p:nvPr>
            <p:ph type="pic" idx="2"/>
          </p:nvPr>
        </p:nvSpPr>
        <p:spPr>
          <a:xfrm>
            <a:off x="0" y="0"/>
            <a:ext cx="9937420" cy="13716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156360912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ítulo e Obje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xmlns="" id="{81528783-4C6A-4398-B603-703E2FE426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4479412"/>
              </p:ext>
            </p:ext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2" name="Slide do think-cell" r:id="rId5" imgW="421" imgH="423" progId="TCLayout.ActiveDocument.1">
                  <p:embed/>
                </p:oleObj>
              </mc:Choice>
              <mc:Fallback>
                <p:oleObj name="Slide do think-cell" r:id="rId5" imgW="421" imgH="423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xmlns="" id="{81528783-4C6A-4398-B603-703E2FE426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ângulo 2" hidden="1">
            <a:extLst>
              <a:ext uri="{FF2B5EF4-FFF2-40B4-BE49-F238E27FC236}">
                <a16:creationId xmlns:a16="http://schemas.microsoft.com/office/drawing/2014/main" xmlns="" id="{517FC8BB-D763-41A8-A87D-5932F67FD22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317500" cy="3175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pt-PT" sz="4800" b="1" i="1" baseline="0">
              <a:latin typeface="Raleway-SemiBold"/>
              <a:ea typeface="+mn-ea"/>
              <a:cs typeface="+mn-cs"/>
              <a:sym typeface="Raleway-SemiBold"/>
            </a:endParaRPr>
          </a:p>
        </p:txBody>
      </p:sp>
      <p:sp>
        <p:nvSpPr>
          <p:cNvPr id="9" name="Retângulo 20">
            <a:extLst>
              <a:ext uri="{FF2B5EF4-FFF2-40B4-BE49-F238E27FC236}">
                <a16:creationId xmlns:a16="http://schemas.microsoft.com/office/drawing/2014/main" xmlns="" id="{5E3DF8EA-4A10-45FD-891F-7C6EEA0B3B9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45125" y="195619"/>
            <a:ext cx="15246481" cy="830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rtlCol="0">
            <a:spAutoFit/>
          </a:bodyPr>
          <a:lstStyle/>
          <a:p>
            <a:r>
              <a:rPr lang="pt-BR" sz="4800" b="1" i="1">
                <a:solidFill>
                  <a:srgbClr val="F44F15"/>
                </a:solidFill>
              </a:rPr>
              <a:t>                                                                                                            </a:t>
            </a:r>
          </a:p>
        </p:txBody>
      </p:sp>
      <p:cxnSp>
        <p:nvCxnSpPr>
          <p:cNvPr id="6" name="Conector reto 5">
            <a:extLst>
              <a:ext uri="{FF2B5EF4-FFF2-40B4-BE49-F238E27FC236}">
                <a16:creationId xmlns:a16="http://schemas.microsoft.com/office/drawing/2014/main" xmlns="" id="{7CD6ACF2-AC84-471D-9AEC-5C46F2F27E94}"/>
              </a:ext>
            </a:extLst>
          </p:cNvPr>
          <p:cNvCxnSpPr/>
          <p:nvPr userDrawn="1"/>
        </p:nvCxnSpPr>
        <p:spPr>
          <a:xfrm>
            <a:off x="-182880" y="1666240"/>
            <a:ext cx="7477760" cy="0"/>
          </a:xfrm>
          <a:prstGeom prst="line">
            <a:avLst/>
          </a:prstGeom>
          <a:noFill/>
          <a:ln w="57150" cap="flat">
            <a:solidFill>
              <a:srgbClr val="E4610F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410625751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Texto do Título"/>
          <p:cNvSpPr>
            <a:spLocks noGrp="1"/>
          </p:cNvSpPr>
          <p:nvPr>
            <p:ph type="title"/>
          </p:nvPr>
        </p:nvSpPr>
        <p:spPr>
          <a:xfrm>
            <a:off x="1679575" y="914400"/>
            <a:ext cx="7864476" cy="3200400"/>
          </a:xfrm>
          <a:prstGeom prst="rect">
            <a:avLst/>
          </a:prstGeom>
        </p:spPr>
        <p:txBody>
          <a:bodyPr anchor="b"/>
          <a:lstStyle>
            <a:lvl1pPr>
              <a:defRPr sz="6400"/>
            </a:lvl1pPr>
          </a:lstStyle>
          <a:p>
            <a:r>
              <a:t>Texto do Título</a:t>
            </a:r>
          </a:p>
        </p:txBody>
      </p:sp>
      <p:sp>
        <p:nvSpPr>
          <p:cNvPr id="73" name="Nível de Corpo Um…"/>
          <p:cNvSpPr>
            <a:spLocks noGrp="1"/>
          </p:cNvSpPr>
          <p:nvPr>
            <p:ph type="body" sz="half" idx="1"/>
          </p:nvPr>
        </p:nvSpPr>
        <p:spPr>
          <a:xfrm>
            <a:off x="10366375" y="1974850"/>
            <a:ext cx="12344401" cy="9747250"/>
          </a:xfrm>
          <a:prstGeom prst="rect">
            <a:avLst/>
          </a:prstGeom>
        </p:spPr>
        <p:txBody>
          <a:bodyPr/>
          <a:lstStyle>
            <a:lvl1pPr>
              <a:defRPr sz="6400"/>
            </a:lvl1pPr>
            <a:lvl2pPr marL="979714" indent="-522514">
              <a:defRPr sz="6400"/>
            </a:lvl2pPr>
            <a:lvl3pPr marL="1524000" indent="-609600">
              <a:defRPr sz="6400"/>
            </a:lvl3pPr>
            <a:lvl4pPr marL="2103120" indent="-731520">
              <a:defRPr sz="6400"/>
            </a:lvl4pPr>
            <a:lvl5pPr marL="2560320" indent="-731520">
              <a:defRPr sz="6400"/>
            </a:lvl5pPr>
          </a:lstStyle>
          <a:p>
            <a:r>
              <a:t>Nível de Corpo Um</a:t>
            </a:r>
          </a:p>
          <a:p>
            <a:pPr lvl="1"/>
            <a:r>
              <a:t>Nível de Corpo Dois</a:t>
            </a:r>
          </a:p>
          <a:p>
            <a:pPr lvl="2"/>
            <a:r>
              <a:t>Nível de Corpo Três</a:t>
            </a:r>
          </a:p>
          <a:p>
            <a:pPr lvl="3"/>
            <a:r>
              <a:t>Nível de Corpo Quatro</a:t>
            </a:r>
          </a:p>
          <a:p>
            <a:pPr lvl="4"/>
            <a:r>
              <a:t>Nível de Corpo Cinco</a:t>
            </a:r>
          </a:p>
        </p:txBody>
      </p:sp>
      <p:sp>
        <p:nvSpPr>
          <p:cNvPr id="74" name="Espaço Reservado para Texto 3"/>
          <p:cNvSpPr>
            <a:spLocks noGrp="1"/>
          </p:cNvSpPr>
          <p:nvPr>
            <p:ph type="body" sz="quarter" idx="13"/>
          </p:nvPr>
        </p:nvSpPr>
        <p:spPr>
          <a:xfrm>
            <a:off x="1679575" y="4114800"/>
            <a:ext cx="7864475" cy="7623176"/>
          </a:xfrm>
          <a:prstGeom prst="rect">
            <a:avLst/>
          </a:prstGeom>
          <a:ln w="12700"/>
        </p:spPr>
        <p:txBody>
          <a:bodyPr/>
          <a:lstStyle/>
          <a:p>
            <a:pPr marL="0" indent="0">
              <a:buSzTx/>
              <a:buFontTx/>
              <a:buNone/>
              <a:defRPr sz="3200"/>
            </a:pPr>
            <a:endParaRPr/>
          </a:p>
        </p:txBody>
      </p:sp>
      <p:sp>
        <p:nvSpPr>
          <p:cNvPr id="75" name="Número do Slide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ítulo e Obje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xmlns="" id="{81528783-4C6A-4398-B603-703E2FE426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3995430"/>
              </p:ext>
            </p:ext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" name="Slide do think-cell" r:id="rId5" imgW="421" imgH="423" progId="TCLayout.ActiveDocument.1">
                  <p:embed/>
                </p:oleObj>
              </mc:Choice>
              <mc:Fallback>
                <p:oleObj name="Slide do think-cell" r:id="rId5" imgW="421" imgH="423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xmlns="" id="{81528783-4C6A-4398-B603-703E2FE426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ângulo 2" hidden="1">
            <a:extLst>
              <a:ext uri="{FF2B5EF4-FFF2-40B4-BE49-F238E27FC236}">
                <a16:creationId xmlns:a16="http://schemas.microsoft.com/office/drawing/2014/main" xmlns="" id="{517FC8BB-D763-41A8-A87D-5932F67FD22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317500" cy="3175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pt-PT" sz="4800" b="1" i="1" baseline="0">
              <a:latin typeface="Raleway-SemiBold"/>
              <a:ea typeface="+mn-ea"/>
              <a:cs typeface="+mn-cs"/>
              <a:sym typeface="Raleway-SemiBold"/>
            </a:endParaRPr>
          </a:p>
        </p:txBody>
      </p:sp>
      <p:sp>
        <p:nvSpPr>
          <p:cNvPr id="9" name="Retângulo 20">
            <a:extLst>
              <a:ext uri="{FF2B5EF4-FFF2-40B4-BE49-F238E27FC236}">
                <a16:creationId xmlns:a16="http://schemas.microsoft.com/office/drawing/2014/main" xmlns="" id="{5E3DF8EA-4A10-45FD-891F-7C6EEA0B3B9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45125" y="195619"/>
            <a:ext cx="15246481" cy="830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rtlCol="0">
            <a:spAutoFit/>
          </a:bodyPr>
          <a:lstStyle/>
          <a:p>
            <a:r>
              <a:rPr lang="pt-BR" sz="4800" b="1" i="1">
                <a:solidFill>
                  <a:srgbClr val="F44F15"/>
                </a:solidFill>
              </a:rPr>
              <a:t>                                                                                                            </a:t>
            </a:r>
          </a:p>
        </p:txBody>
      </p:sp>
      <p:sp>
        <p:nvSpPr>
          <p:cNvPr id="10" name="Título 1">
            <a:extLst>
              <a:ext uri="{FF2B5EF4-FFF2-40B4-BE49-F238E27FC236}">
                <a16:creationId xmlns:a16="http://schemas.microsoft.com/office/drawing/2014/main" xmlns="" id="{594DF616-56D8-4C96-A835-4622C43D55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7252" y="254977"/>
            <a:ext cx="23391624" cy="849461"/>
          </a:xfrm>
          <a:noFill/>
        </p:spPr>
        <p:txBody>
          <a:bodyPr wrap="square" rtlCol="0">
            <a:spAutoFit/>
          </a:bodyPr>
          <a:lstStyle>
            <a:lvl1pPr>
              <a:defRPr lang="pt-BR" sz="4800" b="1" i="1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/>
            <a:r>
              <a:rPr lang="pt-PT"/>
              <a:t>Clique para editar o estilo de título do Modelo Global</a:t>
            </a:r>
            <a:endParaRPr lang="pt-BR"/>
          </a:p>
        </p:txBody>
      </p:sp>
      <p:sp>
        <p:nvSpPr>
          <p:cNvPr id="11" name="Retângulo 10">
            <a:extLst>
              <a:ext uri="{FF2B5EF4-FFF2-40B4-BE49-F238E27FC236}">
                <a16:creationId xmlns:a16="http://schemas.microsoft.com/office/drawing/2014/main" xmlns="" id="{3AE1406E-CEA5-45F2-9BB9-3D02F193619E}"/>
              </a:ext>
            </a:extLst>
          </p:cNvPr>
          <p:cNvSpPr/>
          <p:nvPr userDrawn="1"/>
        </p:nvSpPr>
        <p:spPr>
          <a:xfrm>
            <a:off x="0" y="13592685"/>
            <a:ext cx="24384000" cy="125558"/>
          </a:xfrm>
          <a:prstGeom prst="rect">
            <a:avLst/>
          </a:prstGeom>
          <a:solidFill>
            <a:srgbClr val="F44F1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pic>
        <p:nvPicPr>
          <p:cNvPr id="13" name="Imagem 6" descr="Imagem 6">
            <a:hlinkClick r:id="rId7"/>
            <a:extLst>
              <a:ext uri="{FF2B5EF4-FFF2-40B4-BE49-F238E27FC236}">
                <a16:creationId xmlns:a16="http://schemas.microsoft.com/office/drawing/2014/main" xmlns="" id="{2DD91F1C-FF47-45FF-B10D-EF33B95A3A91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23182728" y="12505912"/>
            <a:ext cx="897119" cy="897120"/>
          </a:xfrm>
          <a:prstGeom prst="rect">
            <a:avLst/>
          </a:prstGeom>
          <a:ln w="12700">
            <a:miter lim="400000"/>
          </a:ln>
        </p:spPr>
      </p:pic>
      <p:sp>
        <p:nvSpPr>
          <p:cNvPr id="14" name="Espaço Reservado para Número de Slide 2">
            <a:extLst>
              <a:ext uri="{FF2B5EF4-FFF2-40B4-BE49-F238E27FC236}">
                <a16:creationId xmlns:a16="http://schemas.microsoft.com/office/drawing/2014/main" xmlns="" id="{B6E34BF2-D2CF-4AFA-8371-72A7C9D85FAC}"/>
              </a:ext>
            </a:extLst>
          </p:cNvPr>
          <p:cNvSpPr txBox="1">
            <a:spLocks/>
          </p:cNvSpPr>
          <p:nvPr userDrawn="1"/>
        </p:nvSpPr>
        <p:spPr>
          <a:xfrm>
            <a:off x="22741371" y="13179369"/>
            <a:ext cx="1672257" cy="383879"/>
          </a:xfrm>
          <a:prstGeom prst="rect">
            <a:avLst/>
          </a:prstGeom>
        </p:spPr>
        <p:txBody>
          <a:bodyPr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defRPr>
            </a:lvl1pPr>
            <a:lvl2pPr marL="0" marR="0" indent="45720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defRPr>
            </a:lvl2pPr>
            <a:lvl3pPr marL="0" marR="0" indent="91440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defRPr>
            </a:lvl3pPr>
            <a:lvl4pPr marL="0" marR="0" indent="137160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defRPr>
            </a:lvl4pPr>
            <a:lvl5pPr marL="0" marR="0" indent="182880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defRPr>
            </a:lvl5pPr>
            <a:lvl6pPr marL="0" marR="0" indent="228600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defRPr>
            </a:lvl6pPr>
            <a:lvl7pPr marL="0" marR="0" indent="274320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defRPr>
            </a:lvl7pPr>
            <a:lvl8pPr marL="0" marR="0" indent="320040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defRPr>
            </a:lvl8pPr>
            <a:lvl9pPr marL="0" marR="0" indent="365760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algn="r" hangingPunct="1"/>
            <a:fld id="{59CA350E-AE1A-4EC8-BB97-E02A6D9822DC}" type="slidenum">
              <a:rPr lang="pt-BR" sz="2400" kern="1200" smtClean="0">
                <a:solidFill>
                  <a:prstClr val="black">
                    <a:tint val="75000"/>
                  </a:prstClr>
                </a:solidFill>
                <a:ea typeface="+mn-ea"/>
                <a:cs typeface="+mn-cs"/>
              </a:rPr>
              <a:pPr algn="r" hangingPunct="1"/>
              <a:t>‹nº›</a:t>
            </a:fld>
            <a:endParaRPr lang="pt-BR" sz="2400" kern="1200">
              <a:solidFill>
                <a:prstClr val="black">
                  <a:tint val="75000"/>
                </a:prstClr>
              </a:solidFill>
              <a:ea typeface="+mn-ea"/>
              <a:cs typeface="+mn-cs"/>
            </a:endParaRP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xmlns="" id="{0810EBCC-AF22-4050-B41D-6D4897BCE8BE}"/>
              </a:ext>
            </a:extLst>
          </p:cNvPr>
          <p:cNvSpPr txBox="1"/>
          <p:nvPr userDrawn="1"/>
        </p:nvSpPr>
        <p:spPr>
          <a:xfrm>
            <a:off x="547252" y="679707"/>
            <a:ext cx="23289496" cy="738662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 anchorCtr="0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3600" b="0" i="0" u="none" strike="noStrike" cap="none" spc="0" normalizeH="0" baseline="0">
              <a:ln>
                <a:noFill/>
              </a:ln>
              <a:solidFill>
                <a:srgbClr val="F44F15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xmlns="" id="{8537C64A-F644-432A-B748-B236B07951D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/>
          <a:srcRect l="5986" r="14275" b="10375"/>
          <a:stretch/>
        </p:blipFill>
        <p:spPr>
          <a:xfrm>
            <a:off x="21942538" y="12429668"/>
            <a:ext cx="1019512" cy="10496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97558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ítulo e Obje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xmlns="" id="{81528783-4C6A-4398-B603-703E2FE426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1059013"/>
              </p:ext>
            </p:ext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2" name="Slide do think-cell" r:id="rId5" imgW="421" imgH="423" progId="TCLayout.ActiveDocument.1">
                  <p:embed/>
                </p:oleObj>
              </mc:Choice>
              <mc:Fallback>
                <p:oleObj name="Slide do think-cell" r:id="rId5" imgW="421" imgH="423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xmlns="" id="{81528783-4C6A-4398-B603-703E2FE426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ângulo 2" hidden="1">
            <a:extLst>
              <a:ext uri="{FF2B5EF4-FFF2-40B4-BE49-F238E27FC236}">
                <a16:creationId xmlns:a16="http://schemas.microsoft.com/office/drawing/2014/main" xmlns="" id="{517FC8BB-D763-41A8-A87D-5932F67FD22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317500" cy="3175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pt-PT" sz="4800" b="1" i="1" baseline="0">
              <a:latin typeface="Raleway-SemiBold"/>
              <a:ea typeface="+mn-ea"/>
              <a:cs typeface="+mn-cs"/>
              <a:sym typeface="Raleway-SemiBold"/>
            </a:endParaRPr>
          </a:p>
        </p:txBody>
      </p:sp>
      <p:sp>
        <p:nvSpPr>
          <p:cNvPr id="6" name="Marcador de Posição do Número do Diapositivo 5">
            <a:extLst>
              <a:ext uri="{FF2B5EF4-FFF2-40B4-BE49-F238E27FC236}">
                <a16:creationId xmlns:a16="http://schemas.microsoft.com/office/drawing/2014/main" xmlns="" id="{87B4A81E-D387-49B6-9841-BBBB15994B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022796" y="12800828"/>
            <a:ext cx="684803" cy="553996"/>
          </a:xfrm>
        </p:spPr>
        <p:txBody>
          <a:bodyPr/>
          <a:lstStyle/>
          <a:p>
            <a:fld id="{59CA350E-AE1A-4EC8-BB97-E02A6D9822DC}" type="slidenum">
              <a:rPr lang="pt-BR" smtClean="0"/>
              <a:t>‹nº›</a:t>
            </a:fld>
            <a:endParaRPr lang="pt-BR"/>
          </a:p>
        </p:txBody>
      </p:sp>
      <p:sp>
        <p:nvSpPr>
          <p:cNvPr id="9" name="Retângulo 20">
            <a:extLst>
              <a:ext uri="{FF2B5EF4-FFF2-40B4-BE49-F238E27FC236}">
                <a16:creationId xmlns:a16="http://schemas.microsoft.com/office/drawing/2014/main" xmlns="" id="{5E3DF8EA-4A10-45FD-891F-7C6EEA0B3B9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45125" y="195619"/>
            <a:ext cx="15246481" cy="830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rtlCol="0">
            <a:spAutoFit/>
          </a:bodyPr>
          <a:lstStyle/>
          <a:p>
            <a:r>
              <a:rPr lang="pt-BR" sz="4800" b="1" i="1">
                <a:solidFill>
                  <a:srgbClr val="F44F15"/>
                </a:solidFill>
              </a:rPr>
              <a:t>                                                                                                            </a:t>
            </a:r>
          </a:p>
        </p:txBody>
      </p:sp>
      <p:sp>
        <p:nvSpPr>
          <p:cNvPr id="10" name="Título 1">
            <a:extLst>
              <a:ext uri="{FF2B5EF4-FFF2-40B4-BE49-F238E27FC236}">
                <a16:creationId xmlns:a16="http://schemas.microsoft.com/office/drawing/2014/main" xmlns="" id="{594DF616-56D8-4C96-A835-4622C43D55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7252" y="254977"/>
            <a:ext cx="23391624" cy="849461"/>
          </a:xfrm>
          <a:noFill/>
        </p:spPr>
        <p:txBody>
          <a:bodyPr wrap="square" rtlCol="0">
            <a:spAutoFit/>
          </a:bodyPr>
          <a:lstStyle>
            <a:lvl1pPr>
              <a:defRPr lang="pt-BR" sz="4800" b="1" i="1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/>
            <a:r>
              <a:rPr lang="pt-PT"/>
              <a:t>Clique para editar o estilo de título do Modelo Global</a:t>
            </a:r>
            <a:endParaRPr lang="pt-BR"/>
          </a:p>
        </p:txBody>
      </p:sp>
      <p:sp>
        <p:nvSpPr>
          <p:cNvPr id="11" name="Retângulo 10">
            <a:extLst>
              <a:ext uri="{FF2B5EF4-FFF2-40B4-BE49-F238E27FC236}">
                <a16:creationId xmlns:a16="http://schemas.microsoft.com/office/drawing/2014/main" xmlns="" id="{3AE1406E-CEA5-45F2-9BB9-3D02F193619E}"/>
              </a:ext>
            </a:extLst>
          </p:cNvPr>
          <p:cNvSpPr/>
          <p:nvPr userDrawn="1"/>
        </p:nvSpPr>
        <p:spPr>
          <a:xfrm>
            <a:off x="0" y="13592685"/>
            <a:ext cx="24384000" cy="125558"/>
          </a:xfrm>
          <a:prstGeom prst="rect">
            <a:avLst/>
          </a:prstGeom>
          <a:solidFill>
            <a:srgbClr val="F44F1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pic>
        <p:nvPicPr>
          <p:cNvPr id="12" name="Imagem 11">
            <a:extLst>
              <a:ext uri="{FF2B5EF4-FFF2-40B4-BE49-F238E27FC236}">
                <a16:creationId xmlns:a16="http://schemas.microsoft.com/office/drawing/2014/main" xmlns="" id="{CCBBF573-2AF1-45CE-B279-5C9B4B211037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50898"/>
            <a:ext cx="24384000" cy="13541787"/>
          </a:xfrm>
          <a:prstGeom prst="rect">
            <a:avLst/>
          </a:prstGeom>
        </p:spPr>
      </p:pic>
      <p:sp>
        <p:nvSpPr>
          <p:cNvPr id="5" name="Retângulo 4">
            <a:extLst>
              <a:ext uri="{FF2B5EF4-FFF2-40B4-BE49-F238E27FC236}">
                <a16:creationId xmlns:a16="http://schemas.microsoft.com/office/drawing/2014/main" xmlns="" id="{788A73B9-F2D2-45C8-8280-6D90F6683365}"/>
              </a:ext>
            </a:extLst>
          </p:cNvPr>
          <p:cNvSpPr/>
          <p:nvPr userDrawn="1"/>
        </p:nvSpPr>
        <p:spPr>
          <a:xfrm>
            <a:off x="0" y="0"/>
            <a:ext cx="24384000" cy="13592685"/>
          </a:xfrm>
          <a:prstGeom prst="rect">
            <a:avLst/>
          </a:prstGeom>
          <a:solidFill>
            <a:srgbClr val="FFFFFF">
              <a:alpha val="60000"/>
            </a:srgbClr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36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" name="Espaço Reservado para Número de Slide 2">
            <a:extLst>
              <a:ext uri="{FF2B5EF4-FFF2-40B4-BE49-F238E27FC236}">
                <a16:creationId xmlns:a16="http://schemas.microsoft.com/office/drawing/2014/main" xmlns="" id="{B6E34BF2-D2CF-4AFA-8371-72A7C9D85FAC}"/>
              </a:ext>
            </a:extLst>
          </p:cNvPr>
          <p:cNvSpPr txBox="1">
            <a:spLocks/>
          </p:cNvSpPr>
          <p:nvPr userDrawn="1"/>
        </p:nvSpPr>
        <p:spPr>
          <a:xfrm>
            <a:off x="22687584" y="13179369"/>
            <a:ext cx="1672257" cy="383879"/>
          </a:xfrm>
          <a:prstGeom prst="rect">
            <a:avLst/>
          </a:prstGeom>
        </p:spPr>
        <p:txBody>
          <a:bodyPr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defRPr>
            </a:lvl1pPr>
            <a:lvl2pPr marL="0" marR="0" indent="45720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defRPr>
            </a:lvl2pPr>
            <a:lvl3pPr marL="0" marR="0" indent="91440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defRPr>
            </a:lvl3pPr>
            <a:lvl4pPr marL="0" marR="0" indent="137160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defRPr>
            </a:lvl4pPr>
            <a:lvl5pPr marL="0" marR="0" indent="182880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defRPr>
            </a:lvl5pPr>
            <a:lvl6pPr marL="0" marR="0" indent="228600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defRPr>
            </a:lvl6pPr>
            <a:lvl7pPr marL="0" marR="0" indent="274320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defRPr>
            </a:lvl7pPr>
            <a:lvl8pPr marL="0" marR="0" indent="320040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defRPr>
            </a:lvl8pPr>
            <a:lvl9pPr marL="0" marR="0" indent="365760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algn="r" hangingPunct="1"/>
            <a:fld id="{59CA350E-AE1A-4EC8-BB97-E02A6D9822DC}" type="slidenum">
              <a:rPr lang="pt-BR" sz="2400" kern="1200" smtClean="0">
                <a:solidFill>
                  <a:prstClr val="black">
                    <a:tint val="75000"/>
                  </a:prstClr>
                </a:solidFill>
                <a:ea typeface="+mn-ea"/>
                <a:cs typeface="+mn-cs"/>
              </a:rPr>
              <a:pPr algn="r" hangingPunct="1"/>
              <a:t>‹nº›</a:t>
            </a:fld>
            <a:endParaRPr lang="pt-BR" sz="2400" kern="1200">
              <a:solidFill>
                <a:prstClr val="black">
                  <a:tint val="75000"/>
                </a:prstClr>
              </a:solidFill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0247830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ítulo e Obje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tângulo 7">
            <a:extLst>
              <a:ext uri="{FF2B5EF4-FFF2-40B4-BE49-F238E27FC236}">
                <a16:creationId xmlns:a16="http://schemas.microsoft.com/office/drawing/2014/main" xmlns="" id="{DA021F9B-FC5F-4AC9-B7F5-669B0DE20BC7}"/>
              </a:ext>
            </a:extLst>
          </p:cNvPr>
          <p:cNvSpPr/>
          <p:nvPr userDrawn="1"/>
        </p:nvSpPr>
        <p:spPr>
          <a:xfrm>
            <a:off x="0" y="-2"/>
            <a:ext cx="24384000" cy="1440000"/>
          </a:xfrm>
          <a:prstGeom prst="rect">
            <a:avLst/>
          </a:prstGeom>
          <a:solidFill>
            <a:srgbClr val="F44F1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6" name="Marcador de Posição do Número do Diapositivo 5">
            <a:extLst>
              <a:ext uri="{FF2B5EF4-FFF2-40B4-BE49-F238E27FC236}">
                <a16:creationId xmlns:a16="http://schemas.microsoft.com/office/drawing/2014/main" xmlns="" id="{87B4A81E-D387-49B6-9841-BBBB15994B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022796" y="12800828"/>
            <a:ext cx="684803" cy="553996"/>
          </a:xfrm>
        </p:spPr>
        <p:txBody>
          <a:bodyPr/>
          <a:lstStyle/>
          <a:p>
            <a:fld id="{59CA350E-AE1A-4EC8-BB97-E02A6D9822DC}" type="slidenum">
              <a:rPr lang="pt-BR" smtClean="0"/>
              <a:t>‹nº›</a:t>
            </a:fld>
            <a:endParaRPr lang="pt-BR"/>
          </a:p>
        </p:txBody>
      </p:sp>
      <p:sp>
        <p:nvSpPr>
          <p:cNvPr id="9" name="Retângulo 20">
            <a:extLst>
              <a:ext uri="{FF2B5EF4-FFF2-40B4-BE49-F238E27FC236}">
                <a16:creationId xmlns:a16="http://schemas.microsoft.com/office/drawing/2014/main" xmlns="" id="{5E3DF8EA-4A10-45FD-891F-7C6EEA0B3B9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45125" y="195619"/>
            <a:ext cx="15246481" cy="830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rtlCol="0">
            <a:spAutoFit/>
          </a:bodyPr>
          <a:lstStyle/>
          <a:p>
            <a:r>
              <a:rPr lang="pt-BR" sz="4800" b="1" i="1">
                <a:solidFill>
                  <a:srgbClr val="F44F15"/>
                </a:solidFill>
              </a:rPr>
              <a:t>                                                                                                            </a:t>
            </a:r>
          </a:p>
        </p:txBody>
      </p:sp>
      <p:sp>
        <p:nvSpPr>
          <p:cNvPr id="10" name="Título 1">
            <a:extLst>
              <a:ext uri="{FF2B5EF4-FFF2-40B4-BE49-F238E27FC236}">
                <a16:creationId xmlns:a16="http://schemas.microsoft.com/office/drawing/2014/main" xmlns="" id="{594DF616-56D8-4C96-A835-4622C43D55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7252" y="254977"/>
            <a:ext cx="23391624" cy="849461"/>
          </a:xfrm>
          <a:noFill/>
        </p:spPr>
        <p:txBody>
          <a:bodyPr wrap="square" rtlCol="0">
            <a:spAutoFit/>
          </a:bodyPr>
          <a:lstStyle>
            <a:lvl1pPr>
              <a:defRPr lang="pt-BR" sz="4800" b="1" i="1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/>
            <a:r>
              <a:rPr lang="pt-PT"/>
              <a:t>Clique para editar o estilo de título do Modelo Global</a:t>
            </a:r>
            <a:endParaRPr lang="pt-BR"/>
          </a:p>
        </p:txBody>
      </p:sp>
      <p:sp>
        <p:nvSpPr>
          <p:cNvPr id="11" name="Retângulo 10">
            <a:extLst>
              <a:ext uri="{FF2B5EF4-FFF2-40B4-BE49-F238E27FC236}">
                <a16:creationId xmlns:a16="http://schemas.microsoft.com/office/drawing/2014/main" xmlns="" id="{3AE1406E-CEA5-45F2-9BB9-3D02F193619E}"/>
              </a:ext>
            </a:extLst>
          </p:cNvPr>
          <p:cNvSpPr/>
          <p:nvPr userDrawn="1"/>
        </p:nvSpPr>
        <p:spPr>
          <a:xfrm>
            <a:off x="0" y="13592685"/>
            <a:ext cx="24384000" cy="125558"/>
          </a:xfrm>
          <a:prstGeom prst="rect">
            <a:avLst/>
          </a:prstGeom>
          <a:solidFill>
            <a:srgbClr val="F44F1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12" name="Elipse 11">
            <a:extLst>
              <a:ext uri="{FF2B5EF4-FFF2-40B4-BE49-F238E27FC236}">
                <a16:creationId xmlns:a16="http://schemas.microsoft.com/office/drawing/2014/main" xmlns="" id="{E59FAF3A-5863-410C-AAFC-D4E5015C0ACB}"/>
              </a:ext>
            </a:extLst>
          </p:cNvPr>
          <p:cNvSpPr/>
          <p:nvPr userDrawn="1"/>
        </p:nvSpPr>
        <p:spPr>
          <a:xfrm>
            <a:off x="22726212" y="186388"/>
            <a:ext cx="1440000" cy="1440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pic>
        <p:nvPicPr>
          <p:cNvPr id="13" name="Imagem 12">
            <a:extLst>
              <a:ext uri="{FF2B5EF4-FFF2-40B4-BE49-F238E27FC236}">
                <a16:creationId xmlns:a16="http://schemas.microsoft.com/office/drawing/2014/main" xmlns="" id="{59885E33-E79A-47FB-8447-BE2C172072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01000" y="361176"/>
            <a:ext cx="1090424" cy="10904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010038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ítulo e Obje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>
            <a:extLst>
              <a:ext uri="{FF2B5EF4-FFF2-40B4-BE49-F238E27FC236}">
                <a16:creationId xmlns:a16="http://schemas.microsoft.com/office/drawing/2014/main" xmlns="" id="{BD2D1BD2-1AAF-4C1B-8A74-93AE7A98D57E}"/>
              </a:ext>
            </a:extLst>
          </p:cNvPr>
          <p:cNvSpPr/>
          <p:nvPr userDrawn="1"/>
        </p:nvSpPr>
        <p:spPr>
          <a:xfrm>
            <a:off x="2" y="0"/>
            <a:ext cx="24384000" cy="1371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3" name="Retângulo 2">
            <a:extLst>
              <a:ext uri="{FF2B5EF4-FFF2-40B4-BE49-F238E27FC236}">
                <a16:creationId xmlns:a16="http://schemas.microsoft.com/office/drawing/2014/main" xmlns="" id="{68DFCC05-F939-474B-9B70-FDCEA25C1271}"/>
              </a:ext>
            </a:extLst>
          </p:cNvPr>
          <p:cNvSpPr/>
          <p:nvPr userDrawn="1"/>
        </p:nvSpPr>
        <p:spPr>
          <a:xfrm>
            <a:off x="1" y="0"/>
            <a:ext cx="24383998" cy="1517904"/>
          </a:xfrm>
          <a:prstGeom prst="rect">
            <a:avLst/>
          </a:prstGeom>
          <a:solidFill>
            <a:srgbClr val="F44F1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</p:spTree>
    <p:extLst>
      <p:ext uri="{BB962C8B-B14F-4D97-AF65-F5344CB8AC3E}">
        <p14:creationId xmlns:p14="http://schemas.microsoft.com/office/powerpoint/2010/main" val="3674342334"/>
      </p:ext>
    </p:extLst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ítulo e Obje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xmlns="" id="{5D22FC36-8FD8-4AF9-A5A2-0D70AE5038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022445"/>
              </p:ext>
            </p:ext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4" name="Slide do think-cell" r:id="rId4" imgW="425" imgH="426" progId="TCLayout.ActiveDocument.1">
                  <p:embed/>
                </p:oleObj>
              </mc:Choice>
              <mc:Fallback>
                <p:oleObj name="Slide do think-cell" r:id="rId4" imgW="425" imgH="426" progId="TCLayout.ActiveDocument.1">
                  <p:embed/>
                  <p:pic>
                    <p:nvPicPr>
                      <p:cNvPr id="8" name="Objeto 7" hidden="1">
                        <a:extLst>
                          <a:ext uri="{FF2B5EF4-FFF2-40B4-BE49-F238E27FC236}">
                            <a16:creationId xmlns:a16="http://schemas.microsoft.com/office/drawing/2014/main" xmlns="" id="{5D22FC36-8FD8-4AF9-A5A2-0D70AE5038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tângulo 1">
            <a:extLst>
              <a:ext uri="{FF2B5EF4-FFF2-40B4-BE49-F238E27FC236}">
                <a16:creationId xmlns:a16="http://schemas.microsoft.com/office/drawing/2014/main" xmlns="" id="{BD2D1BD2-1AAF-4C1B-8A74-93AE7A98D57E}"/>
              </a:ext>
            </a:extLst>
          </p:cNvPr>
          <p:cNvSpPr/>
          <p:nvPr userDrawn="1"/>
        </p:nvSpPr>
        <p:spPr>
          <a:xfrm>
            <a:off x="2" y="0"/>
            <a:ext cx="24384000" cy="1371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3" name="Retângulo 2">
            <a:extLst>
              <a:ext uri="{FF2B5EF4-FFF2-40B4-BE49-F238E27FC236}">
                <a16:creationId xmlns:a16="http://schemas.microsoft.com/office/drawing/2014/main" xmlns="" id="{68DFCC05-F939-474B-9B70-FDCEA25C1271}"/>
              </a:ext>
            </a:extLst>
          </p:cNvPr>
          <p:cNvSpPr/>
          <p:nvPr userDrawn="1"/>
        </p:nvSpPr>
        <p:spPr>
          <a:xfrm>
            <a:off x="1" y="0"/>
            <a:ext cx="24383998" cy="1517904"/>
          </a:xfrm>
          <a:prstGeom prst="rect">
            <a:avLst/>
          </a:prstGeom>
          <a:solidFill>
            <a:srgbClr val="F44F1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4" name="Elipse 3">
            <a:extLst>
              <a:ext uri="{FF2B5EF4-FFF2-40B4-BE49-F238E27FC236}">
                <a16:creationId xmlns:a16="http://schemas.microsoft.com/office/drawing/2014/main" xmlns="" id="{9AE01A28-521F-4571-BE2B-24A26CE26C30}"/>
              </a:ext>
            </a:extLst>
          </p:cNvPr>
          <p:cNvSpPr/>
          <p:nvPr userDrawn="1"/>
        </p:nvSpPr>
        <p:spPr>
          <a:xfrm>
            <a:off x="127253" y="421919"/>
            <a:ext cx="2046514" cy="204651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xmlns="" id="{7D989425-529F-4A89-913C-A0360F8027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022796" y="12800828"/>
            <a:ext cx="684804" cy="553996"/>
          </a:xfrm>
        </p:spPr>
        <p:txBody>
          <a:bodyPr/>
          <a:lstStyle/>
          <a:p>
            <a:fld id="{59CA350E-AE1A-4EC8-BB97-E02A6D9822D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52262649"/>
      </p:ext>
    </p:extLst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17.xml"/><Relationship Id="rId21" Type="http://schemas.openxmlformats.org/officeDocument/2006/relationships/tags" Target="../tags/tag10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slideLayout" Target="../slideLayouts/slideLayout31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20" Type="http://schemas.openxmlformats.org/officeDocument/2006/relationships/tags" Target="../tags/tag9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24.xml"/><Relationship Id="rId19" Type="http://schemas.openxmlformats.org/officeDocument/2006/relationships/vmlDrawing" Target="../drawings/vmlDrawing5.v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oleObject" Target="../embeddings/oleObject5.bin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188140AF-0F43-4223-A62F-371129F63C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5256753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Slide do think-cell" r:id="rId19" imgW="351" imgH="351" progId="TCLayout.ActiveDocument.1">
                  <p:embed/>
                </p:oleObj>
              </mc:Choice>
              <mc:Fallback>
                <p:oleObj name="Slide do think-cell" r:id="rId19" imgW="351" imgH="35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188140AF-0F43-4223-A62F-371129F63C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xmlns="" id="{815D299B-9C07-40A1-A46F-97281B25AB9B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8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Calibri Light" panose="020F0302020204030204" pitchFamily="34" charset="0"/>
              <a:ea typeface="Calibri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2" name="Texto do Título"/>
          <p:cNvSpPr>
            <a:spLocks noGrp="1"/>
          </p:cNvSpPr>
          <p:nvPr>
            <p:ph type="title"/>
          </p:nvPr>
        </p:nvSpPr>
        <p:spPr>
          <a:xfrm>
            <a:off x="1676400" y="730250"/>
            <a:ext cx="21031200" cy="2651126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tIns="91439" bIns="91439" anchor="ctr">
            <a:normAutofit/>
          </a:bodyPr>
          <a:lstStyle/>
          <a:p>
            <a:r>
              <a:t>Texto do Título</a:t>
            </a:r>
          </a:p>
        </p:txBody>
      </p:sp>
      <p:sp>
        <p:nvSpPr>
          <p:cNvPr id="3" name="Nível de Corpo Um…"/>
          <p:cNvSpPr>
            <a:spLocks noGrp="1"/>
          </p:cNvSpPr>
          <p:nvPr>
            <p:ph type="body" idx="1"/>
          </p:nvPr>
        </p:nvSpPr>
        <p:spPr>
          <a:xfrm>
            <a:off x="1676400" y="3651250"/>
            <a:ext cx="21031200" cy="8702676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tIns="91439" bIns="91439">
            <a:normAutofit/>
          </a:bodyPr>
          <a:lstStyle/>
          <a:p>
            <a:r>
              <a:t>Nível de Corpo Um</a:t>
            </a:r>
          </a:p>
          <a:p>
            <a:pPr lvl="1"/>
            <a:r>
              <a:t>Nível de Corpo Dois</a:t>
            </a:r>
          </a:p>
          <a:p>
            <a:pPr lvl="2"/>
            <a:r>
              <a:t>Nível de Corpo Três</a:t>
            </a:r>
          </a:p>
          <a:p>
            <a:pPr lvl="3"/>
            <a:r>
              <a:t>Nível de Corpo Quatro</a:t>
            </a:r>
          </a:p>
          <a:p>
            <a:pPr lvl="4"/>
            <a:r>
              <a:t>Nível de Corpo Cinco</a:t>
            </a:r>
          </a:p>
        </p:txBody>
      </p:sp>
      <p:sp>
        <p:nvSpPr>
          <p:cNvPr id="4" name="Número do Slide"/>
          <p:cNvSpPr>
            <a:spLocks noGrp="1"/>
          </p:cNvSpPr>
          <p:nvPr>
            <p:ph type="sldNum" sz="quarter" idx="2"/>
          </p:nvPr>
        </p:nvSpPr>
        <p:spPr>
          <a:xfrm>
            <a:off x="22172989" y="12802235"/>
            <a:ext cx="534611" cy="551181"/>
          </a:xfrm>
          <a:prstGeom prst="rect">
            <a:avLst/>
          </a:prstGeom>
          <a:ln w="25400">
            <a:miter lim="400000"/>
          </a:ln>
        </p:spPr>
        <p:txBody>
          <a:bodyPr wrap="none" tIns="91439" bIns="91439" anchor="ctr">
            <a:spAutoFit/>
          </a:bodyPr>
          <a:lstStyle>
            <a:lvl1pPr algn="r">
              <a:defRPr sz="24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nº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2" r:id="rId2"/>
    <p:sldLayoutId id="2147483653" r:id="rId3"/>
    <p:sldLayoutId id="2147483656" r:id="rId4"/>
    <p:sldLayoutId id="2147483673" r:id="rId5"/>
    <p:sldLayoutId id="2147483675" r:id="rId6"/>
    <p:sldLayoutId id="2147483674" r:id="rId7"/>
    <p:sldLayoutId id="2147483678" r:id="rId8"/>
    <p:sldLayoutId id="2147483679" r:id="rId9"/>
    <p:sldLayoutId id="2147483680" r:id="rId10"/>
    <p:sldLayoutId id="2147483681" r:id="rId11"/>
    <p:sldLayoutId id="2147483682" r:id="rId12"/>
    <p:sldLayoutId id="2147483677" r:id="rId13"/>
    <p:sldLayoutId id="2147483757" r:id="rId14"/>
  </p:sldLayoutIdLst>
  <p:transition spd="med"/>
  <p:txStyles>
    <p:titleStyle>
      <a:lvl1pPr marL="0" marR="0" indent="0" algn="l" defTabSz="1828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8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1pPr>
      <a:lvl2pPr marL="0" marR="0" indent="0" algn="l" defTabSz="1828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8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2pPr>
      <a:lvl3pPr marL="0" marR="0" indent="0" algn="l" defTabSz="1828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8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3pPr>
      <a:lvl4pPr marL="0" marR="0" indent="0" algn="l" defTabSz="1828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8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4pPr>
      <a:lvl5pPr marL="0" marR="0" indent="0" algn="l" defTabSz="1828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8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5pPr>
      <a:lvl6pPr marL="0" marR="0" indent="0" algn="l" defTabSz="1828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8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6pPr>
      <a:lvl7pPr marL="0" marR="0" indent="0" algn="l" defTabSz="1828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8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7pPr>
      <a:lvl8pPr marL="0" marR="0" indent="0" algn="l" defTabSz="1828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8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8pPr>
      <a:lvl9pPr marL="0" marR="0" indent="0" algn="l" defTabSz="1828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8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9pPr>
    </p:titleStyle>
    <p:bodyStyle>
      <a:lvl1pPr marL="457200" marR="0" indent="-457200" algn="l" defTabSz="1828800" rtl="0" latinLnBrk="0">
        <a:lnSpc>
          <a:spcPct val="90000"/>
        </a:lnSpc>
        <a:spcBef>
          <a:spcPts val="2000"/>
        </a:spcBef>
        <a:spcAft>
          <a:spcPts val="0"/>
        </a:spcAft>
        <a:buClrTx/>
        <a:buSzPct val="100000"/>
        <a:buFont typeface="Arial"/>
        <a:buChar char="•"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"/>
          <a:ea typeface="Calibri"/>
          <a:cs typeface="Calibri"/>
          <a:sym typeface="Calibri"/>
        </a:defRPr>
      </a:lvl1pPr>
      <a:lvl2pPr marL="990600" marR="0" indent="-533400" algn="l" defTabSz="1828800" rtl="0" latinLnBrk="0">
        <a:lnSpc>
          <a:spcPct val="90000"/>
        </a:lnSpc>
        <a:spcBef>
          <a:spcPts val="2000"/>
        </a:spcBef>
        <a:spcAft>
          <a:spcPts val="0"/>
        </a:spcAft>
        <a:buClrTx/>
        <a:buSzPct val="100000"/>
        <a:buFont typeface="Arial"/>
        <a:buChar char="•"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"/>
          <a:ea typeface="Calibri"/>
          <a:cs typeface="Calibri"/>
          <a:sym typeface="Calibri"/>
        </a:defRPr>
      </a:lvl2pPr>
      <a:lvl3pPr marL="1554479" marR="0" indent="-640079" algn="l" defTabSz="1828800" rtl="0" latinLnBrk="0">
        <a:lnSpc>
          <a:spcPct val="90000"/>
        </a:lnSpc>
        <a:spcBef>
          <a:spcPts val="2000"/>
        </a:spcBef>
        <a:spcAft>
          <a:spcPts val="0"/>
        </a:spcAft>
        <a:buClrTx/>
        <a:buSzPct val="100000"/>
        <a:buFont typeface="Arial"/>
        <a:buChar char="•"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"/>
          <a:ea typeface="Calibri"/>
          <a:cs typeface="Calibri"/>
          <a:sym typeface="Calibri"/>
        </a:defRPr>
      </a:lvl3pPr>
      <a:lvl4pPr marL="2082800" marR="0" indent="-711200" algn="l" defTabSz="1828800" rtl="0" latinLnBrk="0">
        <a:lnSpc>
          <a:spcPct val="90000"/>
        </a:lnSpc>
        <a:spcBef>
          <a:spcPts val="2000"/>
        </a:spcBef>
        <a:spcAft>
          <a:spcPts val="0"/>
        </a:spcAft>
        <a:buClrTx/>
        <a:buSzPct val="100000"/>
        <a:buFont typeface="Arial"/>
        <a:buChar char="•"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"/>
          <a:ea typeface="Calibri"/>
          <a:cs typeface="Calibri"/>
          <a:sym typeface="Calibri"/>
        </a:defRPr>
      </a:lvl4pPr>
      <a:lvl5pPr marL="2540000" marR="0" indent="-711200" algn="l" defTabSz="1828800" rtl="0" latinLnBrk="0">
        <a:lnSpc>
          <a:spcPct val="90000"/>
        </a:lnSpc>
        <a:spcBef>
          <a:spcPts val="2000"/>
        </a:spcBef>
        <a:spcAft>
          <a:spcPts val="0"/>
        </a:spcAft>
        <a:buClrTx/>
        <a:buSzPct val="100000"/>
        <a:buFont typeface="Arial"/>
        <a:buChar char="•"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"/>
          <a:ea typeface="Calibri"/>
          <a:cs typeface="Calibri"/>
          <a:sym typeface="Calibri"/>
        </a:defRPr>
      </a:lvl5pPr>
      <a:lvl6pPr marL="2997200" marR="0" indent="-711200" algn="l" defTabSz="1828800" rtl="0" latinLnBrk="0">
        <a:lnSpc>
          <a:spcPct val="90000"/>
        </a:lnSpc>
        <a:spcBef>
          <a:spcPts val="2000"/>
        </a:spcBef>
        <a:spcAft>
          <a:spcPts val="0"/>
        </a:spcAft>
        <a:buClrTx/>
        <a:buSzPct val="100000"/>
        <a:buFont typeface="Arial"/>
        <a:buChar char="•"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"/>
          <a:ea typeface="Calibri"/>
          <a:cs typeface="Calibri"/>
          <a:sym typeface="Calibri"/>
        </a:defRPr>
      </a:lvl6pPr>
      <a:lvl7pPr marL="3454400" marR="0" indent="-711200" algn="l" defTabSz="1828800" rtl="0" latinLnBrk="0">
        <a:lnSpc>
          <a:spcPct val="90000"/>
        </a:lnSpc>
        <a:spcBef>
          <a:spcPts val="2000"/>
        </a:spcBef>
        <a:spcAft>
          <a:spcPts val="0"/>
        </a:spcAft>
        <a:buClrTx/>
        <a:buSzPct val="100000"/>
        <a:buFont typeface="Arial"/>
        <a:buChar char="•"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"/>
          <a:ea typeface="Calibri"/>
          <a:cs typeface="Calibri"/>
          <a:sym typeface="Calibri"/>
        </a:defRPr>
      </a:lvl7pPr>
      <a:lvl8pPr marL="3911600" marR="0" indent="-711200" algn="l" defTabSz="1828800" rtl="0" latinLnBrk="0">
        <a:lnSpc>
          <a:spcPct val="90000"/>
        </a:lnSpc>
        <a:spcBef>
          <a:spcPts val="2000"/>
        </a:spcBef>
        <a:spcAft>
          <a:spcPts val="0"/>
        </a:spcAft>
        <a:buClrTx/>
        <a:buSzPct val="100000"/>
        <a:buFont typeface="Arial"/>
        <a:buChar char="•"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"/>
          <a:ea typeface="Calibri"/>
          <a:cs typeface="Calibri"/>
          <a:sym typeface="Calibri"/>
        </a:defRPr>
      </a:lvl8pPr>
      <a:lvl9pPr marL="4368800" marR="0" indent="-711200" algn="l" defTabSz="1828800" rtl="0" latinLnBrk="0">
        <a:lnSpc>
          <a:spcPct val="90000"/>
        </a:lnSpc>
        <a:spcBef>
          <a:spcPts val="2000"/>
        </a:spcBef>
        <a:spcAft>
          <a:spcPts val="0"/>
        </a:spcAft>
        <a:buClrTx/>
        <a:buSzPct val="100000"/>
        <a:buFont typeface="Arial"/>
        <a:buChar char="•"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"/>
          <a:ea typeface="Calibri"/>
          <a:cs typeface="Calibri"/>
          <a:sym typeface="Calibri"/>
        </a:defRPr>
      </a:lvl9pPr>
    </p:bodyStyle>
    <p:otherStyle>
      <a:lvl1pPr marL="0" marR="0" indent="0" algn="r" defTabSz="1828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1pPr>
      <a:lvl2pPr marL="0" marR="0" indent="457200" algn="r" defTabSz="1828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2pPr>
      <a:lvl3pPr marL="0" marR="0" indent="914400" algn="r" defTabSz="1828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3pPr>
      <a:lvl4pPr marL="0" marR="0" indent="1371600" algn="r" defTabSz="1828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4pPr>
      <a:lvl5pPr marL="0" marR="0" indent="1828800" algn="r" defTabSz="1828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5pPr>
      <a:lvl6pPr marL="0" marR="0" indent="2286000" algn="r" defTabSz="1828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6pPr>
      <a:lvl7pPr marL="0" marR="0" indent="2743200" algn="r" defTabSz="1828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7pPr>
      <a:lvl8pPr marL="0" marR="0" indent="3200400" algn="r" defTabSz="1828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8pPr>
      <a:lvl9pPr marL="0" marR="0" indent="3657600" algn="r" defTabSz="1828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188140AF-0F43-4223-A62F-371129F63C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6227604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8" name="Slide do think-cell" r:id="rId22" imgW="351" imgH="351" progId="TCLayout.ActiveDocument.1">
                  <p:embed/>
                </p:oleObj>
              </mc:Choice>
              <mc:Fallback>
                <p:oleObj name="Slide do think-cell" r:id="rId22" imgW="351" imgH="35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188140AF-0F43-4223-A62F-371129F63C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xmlns="" id="{815D299B-9C07-40A1-A46F-97281B25AB9B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8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Calibri Light" panose="020F0302020204030204" pitchFamily="34" charset="0"/>
              <a:ea typeface="Calibri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2" name="Texto do Título"/>
          <p:cNvSpPr>
            <a:spLocks noGrp="1"/>
          </p:cNvSpPr>
          <p:nvPr>
            <p:ph type="title"/>
          </p:nvPr>
        </p:nvSpPr>
        <p:spPr>
          <a:xfrm>
            <a:off x="1676400" y="730250"/>
            <a:ext cx="21031200" cy="2651126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tIns="91439" bIns="91439" anchor="ctr">
            <a:normAutofit/>
          </a:bodyPr>
          <a:lstStyle/>
          <a:p>
            <a:r>
              <a:t>Texto do Título</a:t>
            </a:r>
          </a:p>
        </p:txBody>
      </p:sp>
      <p:sp>
        <p:nvSpPr>
          <p:cNvPr id="3" name="Nível de Corpo Um…"/>
          <p:cNvSpPr>
            <a:spLocks noGrp="1"/>
          </p:cNvSpPr>
          <p:nvPr>
            <p:ph type="body" idx="1"/>
          </p:nvPr>
        </p:nvSpPr>
        <p:spPr>
          <a:xfrm>
            <a:off x="1676400" y="3651250"/>
            <a:ext cx="21031200" cy="8702676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tIns="91439" bIns="91439">
            <a:normAutofit/>
          </a:bodyPr>
          <a:lstStyle/>
          <a:p>
            <a:r>
              <a:t>Nível de Corpo Um</a:t>
            </a:r>
          </a:p>
          <a:p>
            <a:pPr lvl="1"/>
            <a:r>
              <a:t>Nível de Corpo Dois</a:t>
            </a:r>
          </a:p>
          <a:p>
            <a:pPr lvl="2"/>
            <a:r>
              <a:t>Nível de Corpo Três</a:t>
            </a:r>
          </a:p>
          <a:p>
            <a:pPr lvl="3"/>
            <a:r>
              <a:t>Nível de Corpo Quatro</a:t>
            </a:r>
          </a:p>
          <a:p>
            <a:pPr lvl="4"/>
            <a:r>
              <a:t>Nível de Corpo Cinco</a:t>
            </a:r>
          </a:p>
        </p:txBody>
      </p:sp>
      <p:sp>
        <p:nvSpPr>
          <p:cNvPr id="4" name="Número do Slide"/>
          <p:cNvSpPr>
            <a:spLocks noGrp="1"/>
          </p:cNvSpPr>
          <p:nvPr>
            <p:ph type="sldNum" sz="quarter" idx="2"/>
          </p:nvPr>
        </p:nvSpPr>
        <p:spPr>
          <a:xfrm>
            <a:off x="22172989" y="12802235"/>
            <a:ext cx="534611" cy="551181"/>
          </a:xfrm>
          <a:prstGeom prst="rect">
            <a:avLst/>
          </a:prstGeom>
          <a:ln w="25400">
            <a:miter lim="400000"/>
          </a:ln>
        </p:spPr>
        <p:txBody>
          <a:bodyPr wrap="none" tIns="91439" bIns="91439" anchor="ctr">
            <a:spAutoFit/>
          </a:bodyPr>
          <a:lstStyle>
            <a:lvl1pPr algn="r">
              <a:defRPr sz="24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213026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760" r:id="rId9"/>
    <p:sldLayoutId id="2147483692" r:id="rId10"/>
    <p:sldLayoutId id="2147483693" r:id="rId11"/>
    <p:sldLayoutId id="2147483694" r:id="rId12"/>
    <p:sldLayoutId id="2147483695" r:id="rId13"/>
    <p:sldLayoutId id="2147483696" r:id="rId14"/>
    <p:sldLayoutId id="2147483697" r:id="rId15"/>
    <p:sldLayoutId id="2147483698" r:id="rId16"/>
    <p:sldLayoutId id="2147483759" r:id="rId17"/>
  </p:sldLayoutIdLst>
  <p:transition spd="med"/>
  <p:txStyles>
    <p:titleStyle>
      <a:lvl1pPr marL="0" marR="0" indent="0" algn="l" defTabSz="1828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8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1pPr>
      <a:lvl2pPr marL="0" marR="0" indent="0" algn="l" defTabSz="1828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8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2pPr>
      <a:lvl3pPr marL="0" marR="0" indent="0" algn="l" defTabSz="1828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8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3pPr>
      <a:lvl4pPr marL="0" marR="0" indent="0" algn="l" defTabSz="1828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8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4pPr>
      <a:lvl5pPr marL="0" marR="0" indent="0" algn="l" defTabSz="1828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8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5pPr>
      <a:lvl6pPr marL="0" marR="0" indent="0" algn="l" defTabSz="1828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8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6pPr>
      <a:lvl7pPr marL="0" marR="0" indent="0" algn="l" defTabSz="1828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8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7pPr>
      <a:lvl8pPr marL="0" marR="0" indent="0" algn="l" defTabSz="1828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8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8pPr>
      <a:lvl9pPr marL="0" marR="0" indent="0" algn="l" defTabSz="1828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8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9pPr>
    </p:titleStyle>
    <p:bodyStyle>
      <a:lvl1pPr marL="457200" marR="0" indent="-457200" algn="l" defTabSz="1828800" rtl="0" latinLnBrk="0">
        <a:lnSpc>
          <a:spcPct val="90000"/>
        </a:lnSpc>
        <a:spcBef>
          <a:spcPts val="2000"/>
        </a:spcBef>
        <a:spcAft>
          <a:spcPts val="0"/>
        </a:spcAft>
        <a:buClrTx/>
        <a:buSzPct val="100000"/>
        <a:buFont typeface="Arial"/>
        <a:buChar char="•"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"/>
          <a:ea typeface="Calibri"/>
          <a:cs typeface="Calibri"/>
          <a:sym typeface="Calibri"/>
        </a:defRPr>
      </a:lvl1pPr>
      <a:lvl2pPr marL="990600" marR="0" indent="-533400" algn="l" defTabSz="1828800" rtl="0" latinLnBrk="0">
        <a:lnSpc>
          <a:spcPct val="90000"/>
        </a:lnSpc>
        <a:spcBef>
          <a:spcPts val="2000"/>
        </a:spcBef>
        <a:spcAft>
          <a:spcPts val="0"/>
        </a:spcAft>
        <a:buClrTx/>
        <a:buSzPct val="100000"/>
        <a:buFont typeface="Arial"/>
        <a:buChar char="•"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"/>
          <a:ea typeface="Calibri"/>
          <a:cs typeface="Calibri"/>
          <a:sym typeface="Calibri"/>
        </a:defRPr>
      </a:lvl2pPr>
      <a:lvl3pPr marL="1554479" marR="0" indent="-640079" algn="l" defTabSz="1828800" rtl="0" latinLnBrk="0">
        <a:lnSpc>
          <a:spcPct val="90000"/>
        </a:lnSpc>
        <a:spcBef>
          <a:spcPts val="2000"/>
        </a:spcBef>
        <a:spcAft>
          <a:spcPts val="0"/>
        </a:spcAft>
        <a:buClrTx/>
        <a:buSzPct val="100000"/>
        <a:buFont typeface="Arial"/>
        <a:buChar char="•"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"/>
          <a:ea typeface="Calibri"/>
          <a:cs typeface="Calibri"/>
          <a:sym typeface="Calibri"/>
        </a:defRPr>
      </a:lvl3pPr>
      <a:lvl4pPr marL="2082800" marR="0" indent="-711200" algn="l" defTabSz="1828800" rtl="0" latinLnBrk="0">
        <a:lnSpc>
          <a:spcPct val="90000"/>
        </a:lnSpc>
        <a:spcBef>
          <a:spcPts val="2000"/>
        </a:spcBef>
        <a:spcAft>
          <a:spcPts val="0"/>
        </a:spcAft>
        <a:buClrTx/>
        <a:buSzPct val="100000"/>
        <a:buFont typeface="Arial"/>
        <a:buChar char="•"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"/>
          <a:ea typeface="Calibri"/>
          <a:cs typeface="Calibri"/>
          <a:sym typeface="Calibri"/>
        </a:defRPr>
      </a:lvl4pPr>
      <a:lvl5pPr marL="2540000" marR="0" indent="-711200" algn="l" defTabSz="1828800" rtl="0" latinLnBrk="0">
        <a:lnSpc>
          <a:spcPct val="90000"/>
        </a:lnSpc>
        <a:spcBef>
          <a:spcPts val="2000"/>
        </a:spcBef>
        <a:spcAft>
          <a:spcPts val="0"/>
        </a:spcAft>
        <a:buClrTx/>
        <a:buSzPct val="100000"/>
        <a:buFont typeface="Arial"/>
        <a:buChar char="•"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"/>
          <a:ea typeface="Calibri"/>
          <a:cs typeface="Calibri"/>
          <a:sym typeface="Calibri"/>
        </a:defRPr>
      </a:lvl5pPr>
      <a:lvl6pPr marL="2997200" marR="0" indent="-711200" algn="l" defTabSz="1828800" rtl="0" latinLnBrk="0">
        <a:lnSpc>
          <a:spcPct val="90000"/>
        </a:lnSpc>
        <a:spcBef>
          <a:spcPts val="2000"/>
        </a:spcBef>
        <a:spcAft>
          <a:spcPts val="0"/>
        </a:spcAft>
        <a:buClrTx/>
        <a:buSzPct val="100000"/>
        <a:buFont typeface="Arial"/>
        <a:buChar char="•"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"/>
          <a:ea typeface="Calibri"/>
          <a:cs typeface="Calibri"/>
          <a:sym typeface="Calibri"/>
        </a:defRPr>
      </a:lvl6pPr>
      <a:lvl7pPr marL="3454400" marR="0" indent="-711200" algn="l" defTabSz="1828800" rtl="0" latinLnBrk="0">
        <a:lnSpc>
          <a:spcPct val="90000"/>
        </a:lnSpc>
        <a:spcBef>
          <a:spcPts val="2000"/>
        </a:spcBef>
        <a:spcAft>
          <a:spcPts val="0"/>
        </a:spcAft>
        <a:buClrTx/>
        <a:buSzPct val="100000"/>
        <a:buFont typeface="Arial"/>
        <a:buChar char="•"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"/>
          <a:ea typeface="Calibri"/>
          <a:cs typeface="Calibri"/>
          <a:sym typeface="Calibri"/>
        </a:defRPr>
      </a:lvl7pPr>
      <a:lvl8pPr marL="3911600" marR="0" indent="-711200" algn="l" defTabSz="1828800" rtl="0" latinLnBrk="0">
        <a:lnSpc>
          <a:spcPct val="90000"/>
        </a:lnSpc>
        <a:spcBef>
          <a:spcPts val="2000"/>
        </a:spcBef>
        <a:spcAft>
          <a:spcPts val="0"/>
        </a:spcAft>
        <a:buClrTx/>
        <a:buSzPct val="100000"/>
        <a:buFont typeface="Arial"/>
        <a:buChar char="•"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"/>
          <a:ea typeface="Calibri"/>
          <a:cs typeface="Calibri"/>
          <a:sym typeface="Calibri"/>
        </a:defRPr>
      </a:lvl8pPr>
      <a:lvl9pPr marL="4368800" marR="0" indent="-711200" algn="l" defTabSz="1828800" rtl="0" latinLnBrk="0">
        <a:lnSpc>
          <a:spcPct val="90000"/>
        </a:lnSpc>
        <a:spcBef>
          <a:spcPts val="2000"/>
        </a:spcBef>
        <a:spcAft>
          <a:spcPts val="0"/>
        </a:spcAft>
        <a:buClrTx/>
        <a:buSzPct val="100000"/>
        <a:buFont typeface="Arial"/>
        <a:buChar char="•"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"/>
          <a:ea typeface="Calibri"/>
          <a:cs typeface="Calibri"/>
          <a:sym typeface="Calibri"/>
        </a:defRPr>
      </a:lvl9pPr>
    </p:bodyStyle>
    <p:otherStyle>
      <a:lvl1pPr marL="0" marR="0" indent="0" algn="r" defTabSz="1828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1pPr>
      <a:lvl2pPr marL="0" marR="0" indent="457200" algn="r" defTabSz="1828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2pPr>
      <a:lvl3pPr marL="0" marR="0" indent="914400" algn="r" defTabSz="1828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3pPr>
      <a:lvl4pPr marL="0" marR="0" indent="1371600" algn="r" defTabSz="1828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4pPr>
      <a:lvl5pPr marL="0" marR="0" indent="1828800" algn="r" defTabSz="1828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5pPr>
      <a:lvl6pPr marL="0" marR="0" indent="2286000" algn="r" defTabSz="1828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6pPr>
      <a:lvl7pPr marL="0" marR="0" indent="2743200" algn="r" defTabSz="1828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7pPr>
      <a:lvl8pPr marL="0" marR="0" indent="3200400" algn="r" defTabSz="1828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8pPr>
      <a:lvl9pPr marL="0" marR="0" indent="3657600" algn="r" defTabSz="1828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2"/>
        </a:solidFill>
        <a:effectLst/>
      </p:bgPr>
    </p:bg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Google Shape;85;p19"/>
          <p:cNvSpPr/>
          <p:nvPr/>
        </p:nvSpPr>
        <p:spPr>
          <a:xfrm>
            <a:off x="22138561" y="752554"/>
            <a:ext cx="713418" cy="713232"/>
          </a:xfrm>
          <a:prstGeom prst="ellipse">
            <a:avLst/>
          </a:prstGeom>
          <a:solidFill>
            <a:srgbClr val="26AC95"/>
          </a:solidFill>
          <a:ln>
            <a:noFill/>
          </a:ln>
        </p:spPr>
        <p:txBody>
          <a:bodyPr spcFirstLastPara="1" wrap="square" lIns="91400" tIns="45700" rIns="9140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3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6" name="Google Shape;86;p19"/>
          <p:cNvSpPr txBox="1">
            <a:spLocks noGrp="1"/>
          </p:cNvSpPr>
          <p:nvPr>
            <p:ph type="title"/>
          </p:nvPr>
        </p:nvSpPr>
        <p:spPr>
          <a:xfrm>
            <a:off x="1676402" y="730253"/>
            <a:ext cx="21031200" cy="26511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798"/>
              <a:buFont typeface="Poppins"/>
              <a:buNone/>
              <a:defRPr sz="8798" b="1" i="0" u="none" strike="noStrike" cap="none">
                <a:solidFill>
                  <a:schemeClr val="dk2"/>
                </a:solidFill>
                <a:latin typeface="Poppins"/>
                <a:ea typeface="Poppins"/>
                <a:cs typeface="Poppins"/>
                <a:sym typeface="Poppins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7" name="Google Shape;87;p19"/>
          <p:cNvSpPr txBox="1">
            <a:spLocks noGrp="1"/>
          </p:cNvSpPr>
          <p:nvPr>
            <p:ph type="body" idx="1"/>
          </p:nvPr>
        </p:nvSpPr>
        <p:spPr>
          <a:xfrm>
            <a:off x="1676402" y="3651250"/>
            <a:ext cx="21031200" cy="87026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ts val="5599"/>
              <a:buFont typeface="Arial"/>
              <a:buNone/>
              <a:defRPr sz="5599" b="0" i="0" u="none" strike="noStrike" cap="none">
                <a:solidFill>
                  <a:schemeClr val="dk1"/>
                </a:solidFill>
                <a:latin typeface="Lato Light"/>
                <a:ea typeface="Lato Light"/>
                <a:cs typeface="Lato Light"/>
                <a:sym typeface="Lato Light"/>
              </a:defRPr>
            </a:lvl1pPr>
            <a:lvl2pPr marL="914400" marR="0" lvl="1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4799"/>
              <a:buFont typeface="Arial"/>
              <a:buNone/>
              <a:defRPr sz="4799" b="0" i="0" u="none" strike="noStrike" cap="none">
                <a:solidFill>
                  <a:schemeClr val="dk1"/>
                </a:solidFill>
                <a:latin typeface="Lato Light"/>
                <a:ea typeface="Lato Light"/>
                <a:cs typeface="Lato Light"/>
                <a:sym typeface="Lato Light"/>
              </a:defRPr>
            </a:lvl2pPr>
            <a:lvl3pPr marL="1371600" marR="0" lvl="2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999"/>
              <a:buFont typeface="Arial"/>
              <a:buNone/>
              <a:defRPr sz="3999" b="0" i="0" u="none" strike="noStrike" cap="none">
                <a:solidFill>
                  <a:schemeClr val="dk1"/>
                </a:solidFill>
                <a:latin typeface="Lato Light"/>
                <a:ea typeface="Lato Light"/>
                <a:cs typeface="Lato Light"/>
                <a:sym typeface="Lato Light"/>
              </a:defRPr>
            </a:lvl3pPr>
            <a:lvl4pPr marL="1828800" marR="0" lvl="3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599"/>
              <a:buFont typeface="Arial"/>
              <a:buNone/>
              <a:defRPr sz="3599" b="0" i="0" u="none" strike="noStrike" cap="none">
                <a:solidFill>
                  <a:schemeClr val="dk1"/>
                </a:solidFill>
                <a:latin typeface="Lato Light"/>
                <a:ea typeface="Lato Light"/>
                <a:cs typeface="Lato Light"/>
                <a:sym typeface="Lato Light"/>
              </a:defRPr>
            </a:lvl4pPr>
            <a:lvl5pPr marL="2286000" marR="0" lvl="4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599"/>
              <a:buFont typeface="Arial"/>
              <a:buNone/>
              <a:defRPr sz="3599" b="0" i="0" u="none" strike="noStrike" cap="none">
                <a:solidFill>
                  <a:schemeClr val="dk1"/>
                </a:solidFill>
                <a:latin typeface="Lato Light"/>
                <a:ea typeface="Lato Light"/>
                <a:cs typeface="Lato Light"/>
                <a:sym typeface="Lato Light"/>
              </a:defRPr>
            </a:lvl5pPr>
            <a:lvl6pPr marL="2743200" marR="0" lvl="5" indent="-457136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599"/>
              <a:buFont typeface="Arial"/>
              <a:buChar char="•"/>
              <a:defRPr sz="3599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457136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599"/>
              <a:buFont typeface="Arial"/>
              <a:buChar char="•"/>
              <a:defRPr sz="3599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457136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599"/>
              <a:buFont typeface="Arial"/>
              <a:buChar char="•"/>
              <a:defRPr sz="3599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457136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599"/>
              <a:buFont typeface="Arial"/>
              <a:buChar char="•"/>
              <a:defRPr sz="3599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8" name="Google Shape;88;p19"/>
          <p:cNvSpPr/>
          <p:nvPr/>
        </p:nvSpPr>
        <p:spPr>
          <a:xfrm>
            <a:off x="22149075" y="783540"/>
            <a:ext cx="713434" cy="713232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Poppins Medium"/>
              <a:buNone/>
            </a:pPr>
            <a:fld id="{00000000-1234-1234-1234-123412341234}" type="slidenum">
              <a:rPr lang="pt-BR" sz="2200" b="0" i="0" u="none" strike="noStrike" cap="none">
                <a:solidFill>
                  <a:schemeClr val="lt1"/>
                </a:solidFill>
                <a:latin typeface="Poppins Medium"/>
                <a:ea typeface="Poppins Medium"/>
                <a:cs typeface="Poppins Medium"/>
                <a:sym typeface="Poppins Medium"/>
              </a:rPr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100"/>
                <a:buFont typeface="Poppins Medium"/>
                <a:buNone/>
              </a:pPr>
              <a:t>‹nº›</a:t>
            </a:fld>
            <a:endParaRPr sz="2200" b="0" i="0" u="none" strike="noStrike" cap="none">
              <a:solidFill>
                <a:schemeClr val="lt1"/>
              </a:solidFill>
              <a:latin typeface="Poppins Medium"/>
              <a:ea typeface="Poppins Medium"/>
              <a:cs typeface="Poppins Medium"/>
              <a:sym typeface="Poppins Medium"/>
            </a:endParaRPr>
          </a:p>
        </p:txBody>
      </p:sp>
    </p:spTree>
    <p:extLst>
      <p:ext uri="{BB962C8B-B14F-4D97-AF65-F5344CB8AC3E}">
        <p14:creationId xmlns:p14="http://schemas.microsoft.com/office/powerpoint/2010/main" val="2403105993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754" r:id="rId1"/>
    <p:sldLayoutId id="2147483756" r:id="rId2"/>
    <p:sldLayoutId id="2147483758" r:id="rId3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0.emf"/><Relationship Id="rId2" Type="http://schemas.openxmlformats.org/officeDocument/2006/relationships/tags" Target="../tags/tag24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image" Target="../media/image11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12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3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3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34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13" Type="http://schemas.openxmlformats.org/officeDocument/2006/relationships/image" Target="../media/image48.png"/><Relationship Id="rId18" Type="http://schemas.openxmlformats.org/officeDocument/2006/relationships/image" Target="../media/image52.png"/><Relationship Id="rId3" Type="http://schemas.openxmlformats.org/officeDocument/2006/relationships/slideLayout" Target="../slideLayouts/slideLayout20.xml"/><Relationship Id="rId7" Type="http://schemas.openxmlformats.org/officeDocument/2006/relationships/image" Target="../media/image42.jpeg"/><Relationship Id="rId12" Type="http://schemas.openxmlformats.org/officeDocument/2006/relationships/image" Target="../media/image47.png"/><Relationship Id="rId17" Type="http://schemas.openxmlformats.org/officeDocument/2006/relationships/chart" Target="../charts/chart1.xml"/><Relationship Id="rId2" Type="http://schemas.openxmlformats.org/officeDocument/2006/relationships/tags" Target="../tags/tag28.xml"/><Relationship Id="rId16" Type="http://schemas.openxmlformats.org/officeDocument/2006/relationships/image" Target="../media/image51.png"/><Relationship Id="rId1" Type="http://schemas.openxmlformats.org/officeDocument/2006/relationships/vmlDrawing" Target="../drawings/vmlDrawing17.vml"/><Relationship Id="rId6" Type="http://schemas.openxmlformats.org/officeDocument/2006/relationships/image" Target="../media/image41.png"/><Relationship Id="rId11" Type="http://schemas.openxmlformats.org/officeDocument/2006/relationships/image" Target="../media/image46.png"/><Relationship Id="rId5" Type="http://schemas.openxmlformats.org/officeDocument/2006/relationships/image" Target="../media/image7.emf"/><Relationship Id="rId15" Type="http://schemas.openxmlformats.org/officeDocument/2006/relationships/image" Target="../media/image50.png"/><Relationship Id="rId10" Type="http://schemas.openxmlformats.org/officeDocument/2006/relationships/image" Target="../media/image45.png"/><Relationship Id="rId4" Type="http://schemas.openxmlformats.org/officeDocument/2006/relationships/oleObject" Target="../embeddings/oleObject17.bin"/><Relationship Id="rId9" Type="http://schemas.openxmlformats.org/officeDocument/2006/relationships/image" Target="../media/image44.png"/><Relationship Id="rId14" Type="http://schemas.openxmlformats.org/officeDocument/2006/relationships/image" Target="../media/image49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openxmlformats.org/officeDocument/2006/relationships/slideLayout" Target="../slideLayouts/slideLayout31.xml"/><Relationship Id="rId7" Type="http://schemas.openxmlformats.org/officeDocument/2006/relationships/image" Target="../media/image53.png"/><Relationship Id="rId12" Type="http://schemas.openxmlformats.org/officeDocument/2006/relationships/image" Target="../media/image58.png"/><Relationship Id="rId2" Type="http://schemas.openxmlformats.org/officeDocument/2006/relationships/tags" Target="../tags/tag2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0.emf"/><Relationship Id="rId11" Type="http://schemas.openxmlformats.org/officeDocument/2006/relationships/image" Target="../media/image57.png"/><Relationship Id="rId5" Type="http://schemas.openxmlformats.org/officeDocument/2006/relationships/oleObject" Target="../embeddings/oleObject18.bin"/><Relationship Id="rId10" Type="http://schemas.openxmlformats.org/officeDocument/2006/relationships/image" Target="../media/image56.pn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55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3" Type="http://schemas.openxmlformats.org/officeDocument/2006/relationships/slideLayout" Target="../slideLayouts/slideLayout21.xml"/><Relationship Id="rId7" Type="http://schemas.openxmlformats.org/officeDocument/2006/relationships/image" Target="../media/image60.png"/><Relationship Id="rId2" Type="http://schemas.openxmlformats.org/officeDocument/2006/relationships/tags" Target="../tags/tag3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7.emf"/><Relationship Id="rId11" Type="http://schemas.openxmlformats.org/officeDocument/2006/relationships/image" Target="../media/image64.png"/><Relationship Id="rId5" Type="http://schemas.openxmlformats.org/officeDocument/2006/relationships/oleObject" Target="../embeddings/oleObject19.bin"/><Relationship Id="rId10" Type="http://schemas.openxmlformats.org/officeDocument/2006/relationships/image" Target="../media/image63.png"/><Relationship Id="rId4" Type="http://schemas.openxmlformats.org/officeDocument/2006/relationships/image" Target="../media/image59.png"/><Relationship Id="rId9" Type="http://schemas.openxmlformats.org/officeDocument/2006/relationships/image" Target="../media/image6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5.jpeg"/><Relationship Id="rId1" Type="http://schemas.openxmlformats.org/officeDocument/2006/relationships/slideLayout" Target="../slideLayouts/slideLayout21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png"/><Relationship Id="rId13" Type="http://schemas.openxmlformats.org/officeDocument/2006/relationships/image" Target="../media/image73.png"/><Relationship Id="rId3" Type="http://schemas.openxmlformats.org/officeDocument/2006/relationships/tags" Target="../tags/tag32.xml"/><Relationship Id="rId7" Type="http://schemas.openxmlformats.org/officeDocument/2006/relationships/image" Target="../media/image67.png"/><Relationship Id="rId12" Type="http://schemas.openxmlformats.org/officeDocument/2006/relationships/image" Target="../media/image72.png"/><Relationship Id="rId2" Type="http://schemas.openxmlformats.org/officeDocument/2006/relationships/tags" Target="../tags/tag31.xml"/><Relationship Id="rId16" Type="http://schemas.openxmlformats.org/officeDocument/2006/relationships/image" Target="../media/image76.png"/><Relationship Id="rId1" Type="http://schemas.openxmlformats.org/officeDocument/2006/relationships/vmlDrawing" Target="../drawings/vmlDrawing20.vml"/><Relationship Id="rId6" Type="http://schemas.openxmlformats.org/officeDocument/2006/relationships/image" Target="../media/image66.emf"/><Relationship Id="rId11" Type="http://schemas.openxmlformats.org/officeDocument/2006/relationships/image" Target="../media/image71.png"/><Relationship Id="rId5" Type="http://schemas.openxmlformats.org/officeDocument/2006/relationships/oleObject" Target="../embeddings/oleObject20.bin"/><Relationship Id="rId15" Type="http://schemas.openxmlformats.org/officeDocument/2006/relationships/image" Target="../media/image75.png"/><Relationship Id="rId10" Type="http://schemas.openxmlformats.org/officeDocument/2006/relationships/image" Target="../media/image70.png"/><Relationship Id="rId4" Type="http://schemas.openxmlformats.org/officeDocument/2006/relationships/slideLayout" Target="../slideLayouts/slideLayout22.xml"/><Relationship Id="rId9" Type="http://schemas.openxmlformats.org/officeDocument/2006/relationships/image" Target="../media/image69.png"/><Relationship Id="rId14" Type="http://schemas.openxmlformats.org/officeDocument/2006/relationships/image" Target="../media/image74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77.jpeg"/><Relationship Id="rId1" Type="http://schemas.openxmlformats.org/officeDocument/2006/relationships/slideLayout" Target="../slideLayouts/slideLayout30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9.png"/><Relationship Id="rId13" Type="http://schemas.openxmlformats.org/officeDocument/2006/relationships/image" Target="../media/image84.png"/><Relationship Id="rId3" Type="http://schemas.openxmlformats.org/officeDocument/2006/relationships/tags" Target="../tags/tag34.xml"/><Relationship Id="rId7" Type="http://schemas.openxmlformats.org/officeDocument/2006/relationships/image" Target="../media/image66.emf"/><Relationship Id="rId12" Type="http://schemas.openxmlformats.org/officeDocument/2006/relationships/image" Target="../media/image83.png"/><Relationship Id="rId2" Type="http://schemas.openxmlformats.org/officeDocument/2006/relationships/tags" Target="../tags/tag33.xml"/><Relationship Id="rId16" Type="http://schemas.openxmlformats.org/officeDocument/2006/relationships/image" Target="../media/image87.png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11" Type="http://schemas.openxmlformats.org/officeDocument/2006/relationships/image" Target="../media/image82.png"/><Relationship Id="rId5" Type="http://schemas.openxmlformats.org/officeDocument/2006/relationships/image" Target="../media/image78.png"/><Relationship Id="rId15" Type="http://schemas.openxmlformats.org/officeDocument/2006/relationships/image" Target="../media/image86.png"/><Relationship Id="rId10" Type="http://schemas.openxmlformats.org/officeDocument/2006/relationships/image" Target="../media/image81.png"/><Relationship Id="rId4" Type="http://schemas.openxmlformats.org/officeDocument/2006/relationships/slideLayout" Target="../slideLayouts/slideLayout22.xml"/><Relationship Id="rId9" Type="http://schemas.openxmlformats.org/officeDocument/2006/relationships/image" Target="../media/image80.png"/><Relationship Id="rId14" Type="http://schemas.openxmlformats.org/officeDocument/2006/relationships/image" Target="../media/image8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88.jpeg"/><Relationship Id="rId1" Type="http://schemas.openxmlformats.org/officeDocument/2006/relationships/slideLayout" Target="../slideLayouts/slideLayout30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0.png"/><Relationship Id="rId13" Type="http://schemas.openxmlformats.org/officeDocument/2006/relationships/image" Target="../media/image93.png"/><Relationship Id="rId3" Type="http://schemas.openxmlformats.org/officeDocument/2006/relationships/tags" Target="../tags/tag36.xml"/><Relationship Id="rId7" Type="http://schemas.openxmlformats.org/officeDocument/2006/relationships/image" Target="../media/image69.png"/><Relationship Id="rId12" Type="http://schemas.openxmlformats.org/officeDocument/2006/relationships/image" Target="../media/image92.png"/><Relationship Id="rId2" Type="http://schemas.openxmlformats.org/officeDocument/2006/relationships/tags" Target="../tags/tag35.xml"/><Relationship Id="rId16" Type="http://schemas.openxmlformats.org/officeDocument/2006/relationships/image" Target="../media/image96.png"/><Relationship Id="rId1" Type="http://schemas.openxmlformats.org/officeDocument/2006/relationships/vmlDrawing" Target="../drawings/vmlDrawing22.vml"/><Relationship Id="rId6" Type="http://schemas.openxmlformats.org/officeDocument/2006/relationships/image" Target="../media/image66.emf"/><Relationship Id="rId11" Type="http://schemas.openxmlformats.org/officeDocument/2006/relationships/image" Target="../media/image91.png"/><Relationship Id="rId5" Type="http://schemas.openxmlformats.org/officeDocument/2006/relationships/oleObject" Target="../embeddings/oleObject22.bin"/><Relationship Id="rId15" Type="http://schemas.openxmlformats.org/officeDocument/2006/relationships/image" Target="../media/image95.png"/><Relationship Id="rId10" Type="http://schemas.openxmlformats.org/officeDocument/2006/relationships/image" Target="../media/image90.png"/><Relationship Id="rId4" Type="http://schemas.openxmlformats.org/officeDocument/2006/relationships/slideLayout" Target="../slideLayouts/slideLayout22.xml"/><Relationship Id="rId9" Type="http://schemas.openxmlformats.org/officeDocument/2006/relationships/image" Target="../media/image89.png"/><Relationship Id="rId14" Type="http://schemas.openxmlformats.org/officeDocument/2006/relationships/image" Target="../media/image94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slideLayout" Target="../slideLayouts/slideLayout22.xml"/><Relationship Id="rId7" Type="http://schemas.openxmlformats.org/officeDocument/2006/relationships/image" Target="../media/image36.png"/><Relationship Id="rId2" Type="http://schemas.openxmlformats.org/officeDocument/2006/relationships/tags" Target="../tags/tag37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3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3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.xml"/><Relationship Id="rId7" Type="http://schemas.openxmlformats.org/officeDocument/2006/relationships/image" Target="../media/image35.png"/><Relationship Id="rId2" Type="http://schemas.openxmlformats.org/officeDocument/2006/relationships/tags" Target="../tags/tag38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4.bin"/><Relationship Id="rId4" Type="http://schemas.openxmlformats.org/officeDocument/2006/relationships/notesSlide" Target="../notesSlides/notesSlide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.xml"/><Relationship Id="rId7" Type="http://schemas.openxmlformats.org/officeDocument/2006/relationships/image" Target="../media/image37.png"/><Relationship Id="rId2" Type="http://schemas.openxmlformats.org/officeDocument/2006/relationships/tags" Target="../tags/tag39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5.bin"/><Relationship Id="rId4" Type="http://schemas.openxmlformats.org/officeDocument/2006/relationships/notesSlide" Target="../notesSlides/notesSlide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.xml"/><Relationship Id="rId7" Type="http://schemas.openxmlformats.org/officeDocument/2006/relationships/image" Target="../media/image36.png"/><Relationship Id="rId2" Type="http://schemas.openxmlformats.org/officeDocument/2006/relationships/tags" Target="../tags/tag40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7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3" Type="http://schemas.openxmlformats.org/officeDocument/2006/relationships/slideLayout" Target="../slideLayouts/slideLayout21.xml"/><Relationship Id="rId7" Type="http://schemas.openxmlformats.org/officeDocument/2006/relationships/image" Target="../media/image60.png"/><Relationship Id="rId2" Type="http://schemas.openxmlformats.org/officeDocument/2006/relationships/tags" Target="../tags/tag41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7.emf"/><Relationship Id="rId11" Type="http://schemas.openxmlformats.org/officeDocument/2006/relationships/image" Target="../media/image64.png"/><Relationship Id="rId5" Type="http://schemas.openxmlformats.org/officeDocument/2006/relationships/oleObject" Target="../embeddings/oleObject27.bin"/><Relationship Id="rId10" Type="http://schemas.openxmlformats.org/officeDocument/2006/relationships/image" Target="../media/image63.png"/><Relationship Id="rId4" Type="http://schemas.openxmlformats.org/officeDocument/2006/relationships/image" Target="../media/image59.png"/><Relationship Id="rId9" Type="http://schemas.openxmlformats.org/officeDocument/2006/relationships/image" Target="../media/image6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13" Type="http://schemas.openxmlformats.org/officeDocument/2006/relationships/image" Target="../media/image25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9.png"/><Relationship Id="rId12" Type="http://schemas.openxmlformats.org/officeDocument/2006/relationships/image" Target="../media/image24.png"/><Relationship Id="rId17" Type="http://schemas.openxmlformats.org/officeDocument/2006/relationships/image" Target="../media/image29.png"/><Relationship Id="rId2" Type="http://schemas.openxmlformats.org/officeDocument/2006/relationships/tags" Target="../tags/tag25.xml"/><Relationship Id="rId16" Type="http://schemas.openxmlformats.org/officeDocument/2006/relationships/image" Target="../media/image28.png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0.emf"/><Relationship Id="rId11" Type="http://schemas.openxmlformats.org/officeDocument/2006/relationships/image" Target="../media/image23.png"/><Relationship Id="rId5" Type="http://schemas.openxmlformats.org/officeDocument/2006/relationships/oleObject" Target="../embeddings/oleObject14.bin"/><Relationship Id="rId15" Type="http://schemas.openxmlformats.org/officeDocument/2006/relationships/image" Target="../media/image27.png"/><Relationship Id="rId10" Type="http://schemas.openxmlformats.org/officeDocument/2006/relationships/image" Target="../media/image22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21.png"/><Relationship Id="rId14" Type="http://schemas.openxmlformats.org/officeDocument/2006/relationships/image" Target="../media/image26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0.png"/><Relationship Id="rId2" Type="http://schemas.openxmlformats.org/officeDocument/2006/relationships/tags" Target="../tags/tag2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5.bin"/><Relationship Id="rId10" Type="http://schemas.openxmlformats.org/officeDocument/2006/relationships/image" Target="../media/image33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32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slideLayout" Target="../slideLayouts/slideLayout22.xml"/><Relationship Id="rId7" Type="http://schemas.openxmlformats.org/officeDocument/2006/relationships/image" Target="../media/image36.png"/><Relationship Id="rId2" Type="http://schemas.openxmlformats.org/officeDocument/2006/relationships/tags" Target="../tags/tag2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6.bin"/><Relationship Id="rId9" Type="http://schemas.openxmlformats.org/officeDocument/2006/relationships/image" Target="../media/image38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3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3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m 8">
            <a:extLst>
              <a:ext uri="{FF2B5EF4-FFF2-40B4-BE49-F238E27FC236}">
                <a16:creationId xmlns:a16="http://schemas.microsoft.com/office/drawing/2014/main" xmlns="" id="{5A9385AC-0ABD-41EE-9769-7A330CB3A54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24384000" cy="13716000"/>
          </a:xfrm>
          <a:prstGeom prst="rect">
            <a:avLst/>
          </a:prstGeom>
        </p:spPr>
      </p:pic>
      <p:sp>
        <p:nvSpPr>
          <p:cNvPr id="3" name="Retângulo 2">
            <a:extLst>
              <a:ext uri="{FF2B5EF4-FFF2-40B4-BE49-F238E27FC236}">
                <a16:creationId xmlns:a16="http://schemas.microsoft.com/office/drawing/2014/main" xmlns="" id="{74A02479-CC3F-4D1F-9AAD-04E30C7F80B4}"/>
              </a:ext>
            </a:extLst>
          </p:cNvPr>
          <p:cNvSpPr/>
          <p:nvPr/>
        </p:nvSpPr>
        <p:spPr>
          <a:xfrm>
            <a:off x="43175" y="-1"/>
            <a:ext cx="24384002" cy="13716001"/>
          </a:xfrm>
          <a:prstGeom prst="rect">
            <a:avLst/>
          </a:prstGeom>
          <a:solidFill>
            <a:srgbClr val="F44F15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11" name="Retângulo 10">
            <a:extLst>
              <a:ext uri="{FF2B5EF4-FFF2-40B4-BE49-F238E27FC236}">
                <a16:creationId xmlns:a16="http://schemas.microsoft.com/office/drawing/2014/main" xmlns="" id="{9BEEBA78-A3F0-4305-AC79-DEF7AB40E492}"/>
              </a:ext>
            </a:extLst>
          </p:cNvPr>
          <p:cNvSpPr/>
          <p:nvPr/>
        </p:nvSpPr>
        <p:spPr>
          <a:xfrm>
            <a:off x="1000262" y="7143750"/>
            <a:ext cx="22383476" cy="2671694"/>
          </a:xfrm>
          <a:prstGeom prst="rect">
            <a:avLst/>
          </a:prstGeom>
          <a:solidFill>
            <a:srgbClr val="FFFFFF">
              <a:alpha val="50000"/>
            </a:srgbClr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FBA1A92B-1C58-40F9-93D9-236F1B48D9F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4" name="Slide do think-cell" r:id="rId6" imgW="351" imgH="351" progId="TCLayout.ActiveDocument.1">
                  <p:embed/>
                </p:oleObj>
              </mc:Choice>
              <mc:Fallback>
                <p:oleObj name="Slide do think-cell" r:id="rId6" imgW="351" imgH="351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xmlns="" id="{FBA1A92B-1C58-40F9-93D9-236F1B48D9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Conector reto 11"/>
          <p:cNvCxnSpPr>
            <a:cxnSpLocks/>
          </p:cNvCxnSpPr>
          <p:nvPr/>
        </p:nvCxnSpPr>
        <p:spPr>
          <a:xfrm flipH="1">
            <a:off x="1000262" y="9920220"/>
            <a:ext cx="22383476" cy="0"/>
          </a:xfrm>
          <a:prstGeom prst="line">
            <a:avLst/>
          </a:prstGeom>
          <a:ln>
            <a:solidFill>
              <a:srgbClr val="F44F1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ector reto 6">
            <a:extLst>
              <a:ext uri="{FF2B5EF4-FFF2-40B4-BE49-F238E27FC236}">
                <a16:creationId xmlns:a16="http://schemas.microsoft.com/office/drawing/2014/main" xmlns="" id="{E26E705A-A2C2-46C6-AE4D-ABB5731AA142}"/>
              </a:ext>
            </a:extLst>
          </p:cNvPr>
          <p:cNvCxnSpPr>
            <a:cxnSpLocks/>
          </p:cNvCxnSpPr>
          <p:nvPr/>
        </p:nvCxnSpPr>
        <p:spPr>
          <a:xfrm flipH="1">
            <a:off x="1000262" y="7012254"/>
            <a:ext cx="22383476" cy="0"/>
          </a:xfrm>
          <a:prstGeom prst="line">
            <a:avLst/>
          </a:prstGeom>
          <a:ln>
            <a:solidFill>
              <a:srgbClr val="F44F1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aixaDeTexto 5">
            <a:extLst>
              <a:ext uri="{FF2B5EF4-FFF2-40B4-BE49-F238E27FC236}">
                <a16:creationId xmlns:a16="http://schemas.microsoft.com/office/drawing/2014/main" xmlns="" id="{E5FBAB1A-18DE-45A5-B8EC-8760B6A32CAD}"/>
              </a:ext>
            </a:extLst>
          </p:cNvPr>
          <p:cNvSpPr txBox="1"/>
          <p:nvPr/>
        </p:nvSpPr>
        <p:spPr>
          <a:xfrm>
            <a:off x="132368" y="13131225"/>
            <a:ext cx="4264309" cy="584775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pPr algn="r"/>
            <a:r>
              <a:rPr lang="pt-BR" sz="3200" b="1">
                <a:solidFill>
                  <a:schemeClr val="bg1"/>
                </a:solidFill>
              </a:rPr>
              <a:t>9 de Novembro de 2021</a:t>
            </a:r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1311" y="2205562"/>
            <a:ext cx="8746770" cy="1640020"/>
          </a:xfrm>
          <a:prstGeom prst="rect">
            <a:avLst/>
          </a:prstGeom>
        </p:spPr>
      </p:pic>
      <p:sp>
        <p:nvSpPr>
          <p:cNvPr id="13" name="Elipse 12">
            <a:extLst>
              <a:ext uri="{FF2B5EF4-FFF2-40B4-BE49-F238E27FC236}">
                <a16:creationId xmlns:a16="http://schemas.microsoft.com/office/drawing/2014/main" xmlns="" id="{67427D85-ED9F-48E1-BEC6-365191DE034F}"/>
              </a:ext>
            </a:extLst>
          </p:cNvPr>
          <p:cNvSpPr/>
          <p:nvPr/>
        </p:nvSpPr>
        <p:spPr>
          <a:xfrm>
            <a:off x="6930190" y="1588168"/>
            <a:ext cx="144000" cy="144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14" name="Elipse 13">
            <a:extLst>
              <a:ext uri="{FF2B5EF4-FFF2-40B4-BE49-F238E27FC236}">
                <a16:creationId xmlns:a16="http://schemas.microsoft.com/office/drawing/2014/main" xmlns="" id="{6371E5D0-F070-4E7E-AFCC-BA4CBBE599AD}"/>
              </a:ext>
            </a:extLst>
          </p:cNvPr>
          <p:cNvSpPr/>
          <p:nvPr/>
        </p:nvSpPr>
        <p:spPr>
          <a:xfrm>
            <a:off x="7764380" y="1588168"/>
            <a:ext cx="144000" cy="144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15" name="Elipse 14">
            <a:extLst>
              <a:ext uri="{FF2B5EF4-FFF2-40B4-BE49-F238E27FC236}">
                <a16:creationId xmlns:a16="http://schemas.microsoft.com/office/drawing/2014/main" xmlns="" id="{B04B6875-A3CA-4E98-AED4-E946F069C1D5}"/>
              </a:ext>
            </a:extLst>
          </p:cNvPr>
          <p:cNvSpPr/>
          <p:nvPr/>
        </p:nvSpPr>
        <p:spPr>
          <a:xfrm>
            <a:off x="8598570" y="1588168"/>
            <a:ext cx="144000" cy="144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16" name="Elipse 15">
            <a:extLst>
              <a:ext uri="{FF2B5EF4-FFF2-40B4-BE49-F238E27FC236}">
                <a16:creationId xmlns:a16="http://schemas.microsoft.com/office/drawing/2014/main" xmlns="" id="{251D65E8-9132-496D-B507-4DBC705F9174}"/>
              </a:ext>
            </a:extLst>
          </p:cNvPr>
          <p:cNvSpPr/>
          <p:nvPr/>
        </p:nvSpPr>
        <p:spPr>
          <a:xfrm>
            <a:off x="9432760" y="1588168"/>
            <a:ext cx="144000" cy="144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17" name="Elipse 16">
            <a:extLst>
              <a:ext uri="{FF2B5EF4-FFF2-40B4-BE49-F238E27FC236}">
                <a16:creationId xmlns:a16="http://schemas.microsoft.com/office/drawing/2014/main" xmlns="" id="{71E2C40C-16B5-4014-9AEE-A463416D45C8}"/>
              </a:ext>
            </a:extLst>
          </p:cNvPr>
          <p:cNvSpPr/>
          <p:nvPr/>
        </p:nvSpPr>
        <p:spPr>
          <a:xfrm>
            <a:off x="10266950" y="1588168"/>
            <a:ext cx="144000" cy="144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18" name="Elipse 17">
            <a:extLst>
              <a:ext uri="{FF2B5EF4-FFF2-40B4-BE49-F238E27FC236}">
                <a16:creationId xmlns:a16="http://schemas.microsoft.com/office/drawing/2014/main" xmlns="" id="{E18B833D-AF1A-4DFF-B391-59E2B02AB5A7}"/>
              </a:ext>
            </a:extLst>
          </p:cNvPr>
          <p:cNvSpPr/>
          <p:nvPr/>
        </p:nvSpPr>
        <p:spPr>
          <a:xfrm>
            <a:off x="11101140" y="1588168"/>
            <a:ext cx="144000" cy="144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19" name="Elipse 18">
            <a:extLst>
              <a:ext uri="{FF2B5EF4-FFF2-40B4-BE49-F238E27FC236}">
                <a16:creationId xmlns:a16="http://schemas.microsoft.com/office/drawing/2014/main" xmlns="" id="{716E187F-3B95-4D3A-89C1-138E1157A9A4}"/>
              </a:ext>
            </a:extLst>
          </p:cNvPr>
          <p:cNvSpPr/>
          <p:nvPr/>
        </p:nvSpPr>
        <p:spPr>
          <a:xfrm>
            <a:off x="11935330" y="1588168"/>
            <a:ext cx="144000" cy="144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20" name="Elipse 19">
            <a:extLst>
              <a:ext uri="{FF2B5EF4-FFF2-40B4-BE49-F238E27FC236}">
                <a16:creationId xmlns:a16="http://schemas.microsoft.com/office/drawing/2014/main" xmlns="" id="{B647ECED-E0EE-41D1-AF85-59E498ACF034}"/>
              </a:ext>
            </a:extLst>
          </p:cNvPr>
          <p:cNvSpPr/>
          <p:nvPr/>
        </p:nvSpPr>
        <p:spPr>
          <a:xfrm>
            <a:off x="12769520" y="1588168"/>
            <a:ext cx="144000" cy="144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21" name="Elipse 20">
            <a:extLst>
              <a:ext uri="{FF2B5EF4-FFF2-40B4-BE49-F238E27FC236}">
                <a16:creationId xmlns:a16="http://schemas.microsoft.com/office/drawing/2014/main" xmlns="" id="{20176A88-888E-4BA9-98E4-0DA8A17CED33}"/>
              </a:ext>
            </a:extLst>
          </p:cNvPr>
          <p:cNvSpPr/>
          <p:nvPr/>
        </p:nvSpPr>
        <p:spPr>
          <a:xfrm>
            <a:off x="13603710" y="1588168"/>
            <a:ext cx="144000" cy="144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22" name="Elipse 21">
            <a:extLst>
              <a:ext uri="{FF2B5EF4-FFF2-40B4-BE49-F238E27FC236}">
                <a16:creationId xmlns:a16="http://schemas.microsoft.com/office/drawing/2014/main" xmlns="" id="{E8A733E2-473B-4A33-B06D-2299D5EDE0BB}"/>
              </a:ext>
            </a:extLst>
          </p:cNvPr>
          <p:cNvSpPr/>
          <p:nvPr/>
        </p:nvSpPr>
        <p:spPr>
          <a:xfrm>
            <a:off x="14437900" y="1588168"/>
            <a:ext cx="144000" cy="144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23" name="Elipse 22">
            <a:extLst>
              <a:ext uri="{FF2B5EF4-FFF2-40B4-BE49-F238E27FC236}">
                <a16:creationId xmlns:a16="http://schemas.microsoft.com/office/drawing/2014/main" xmlns="" id="{5A52338D-939F-4F9B-B531-A6C2B9D7756A}"/>
              </a:ext>
            </a:extLst>
          </p:cNvPr>
          <p:cNvSpPr/>
          <p:nvPr/>
        </p:nvSpPr>
        <p:spPr>
          <a:xfrm>
            <a:off x="15272090" y="1588168"/>
            <a:ext cx="144000" cy="144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24" name="Elipse 23">
            <a:extLst>
              <a:ext uri="{FF2B5EF4-FFF2-40B4-BE49-F238E27FC236}">
                <a16:creationId xmlns:a16="http://schemas.microsoft.com/office/drawing/2014/main" xmlns="" id="{452ED48B-388B-4663-860F-94F498CD069A}"/>
              </a:ext>
            </a:extLst>
          </p:cNvPr>
          <p:cNvSpPr/>
          <p:nvPr/>
        </p:nvSpPr>
        <p:spPr>
          <a:xfrm>
            <a:off x="16106280" y="1588168"/>
            <a:ext cx="144000" cy="144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25" name="Elipse 24">
            <a:extLst>
              <a:ext uri="{FF2B5EF4-FFF2-40B4-BE49-F238E27FC236}">
                <a16:creationId xmlns:a16="http://schemas.microsoft.com/office/drawing/2014/main" xmlns="" id="{A11AEEE7-60C0-42ED-876E-654BA87A9780}"/>
              </a:ext>
            </a:extLst>
          </p:cNvPr>
          <p:cNvSpPr/>
          <p:nvPr/>
        </p:nvSpPr>
        <p:spPr>
          <a:xfrm>
            <a:off x="16940470" y="1588168"/>
            <a:ext cx="144000" cy="144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26" name="Elipse 25">
            <a:extLst>
              <a:ext uri="{FF2B5EF4-FFF2-40B4-BE49-F238E27FC236}">
                <a16:creationId xmlns:a16="http://schemas.microsoft.com/office/drawing/2014/main" xmlns="" id="{38272E19-4D07-4E91-A334-8B5828B1EAFD}"/>
              </a:ext>
            </a:extLst>
          </p:cNvPr>
          <p:cNvSpPr/>
          <p:nvPr/>
        </p:nvSpPr>
        <p:spPr>
          <a:xfrm>
            <a:off x="17774660" y="1588168"/>
            <a:ext cx="144000" cy="144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27" name="Elipse 26">
            <a:extLst>
              <a:ext uri="{FF2B5EF4-FFF2-40B4-BE49-F238E27FC236}">
                <a16:creationId xmlns:a16="http://schemas.microsoft.com/office/drawing/2014/main" xmlns="" id="{461C9A68-663A-4F37-87CB-E6CBE7A682CF}"/>
              </a:ext>
            </a:extLst>
          </p:cNvPr>
          <p:cNvSpPr/>
          <p:nvPr/>
        </p:nvSpPr>
        <p:spPr>
          <a:xfrm>
            <a:off x="18608850" y="1588168"/>
            <a:ext cx="144000" cy="144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28" name="Elipse 27">
            <a:extLst>
              <a:ext uri="{FF2B5EF4-FFF2-40B4-BE49-F238E27FC236}">
                <a16:creationId xmlns:a16="http://schemas.microsoft.com/office/drawing/2014/main" xmlns="" id="{A7330869-4E8B-45D8-A171-E8A80C98EC2C}"/>
              </a:ext>
            </a:extLst>
          </p:cNvPr>
          <p:cNvSpPr/>
          <p:nvPr/>
        </p:nvSpPr>
        <p:spPr>
          <a:xfrm>
            <a:off x="19443040" y="1588168"/>
            <a:ext cx="144000" cy="144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29" name="Elipse 28">
            <a:extLst>
              <a:ext uri="{FF2B5EF4-FFF2-40B4-BE49-F238E27FC236}">
                <a16:creationId xmlns:a16="http://schemas.microsoft.com/office/drawing/2014/main" xmlns="" id="{F993BC42-5DB1-4A3C-BD40-C6D0A9A50FB8}"/>
              </a:ext>
            </a:extLst>
          </p:cNvPr>
          <p:cNvSpPr/>
          <p:nvPr/>
        </p:nvSpPr>
        <p:spPr>
          <a:xfrm>
            <a:off x="20277230" y="1588168"/>
            <a:ext cx="144000" cy="144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30" name="Elipse 29">
            <a:extLst>
              <a:ext uri="{FF2B5EF4-FFF2-40B4-BE49-F238E27FC236}">
                <a16:creationId xmlns:a16="http://schemas.microsoft.com/office/drawing/2014/main" xmlns="" id="{7E690127-9A26-4018-9C24-7D280FD982DD}"/>
              </a:ext>
            </a:extLst>
          </p:cNvPr>
          <p:cNvSpPr/>
          <p:nvPr/>
        </p:nvSpPr>
        <p:spPr>
          <a:xfrm>
            <a:off x="21111420" y="1588168"/>
            <a:ext cx="144000" cy="144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31" name="Elipse 30">
            <a:extLst>
              <a:ext uri="{FF2B5EF4-FFF2-40B4-BE49-F238E27FC236}">
                <a16:creationId xmlns:a16="http://schemas.microsoft.com/office/drawing/2014/main" xmlns="" id="{B5399C79-D474-4365-8E68-18F85F09FC0F}"/>
              </a:ext>
            </a:extLst>
          </p:cNvPr>
          <p:cNvSpPr/>
          <p:nvPr/>
        </p:nvSpPr>
        <p:spPr>
          <a:xfrm>
            <a:off x="21945610" y="1588168"/>
            <a:ext cx="144000" cy="144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32" name="Elipse 31">
            <a:extLst>
              <a:ext uri="{FF2B5EF4-FFF2-40B4-BE49-F238E27FC236}">
                <a16:creationId xmlns:a16="http://schemas.microsoft.com/office/drawing/2014/main" xmlns="" id="{FBC4956D-99CC-4A87-B01A-F9535F1FC959}"/>
              </a:ext>
            </a:extLst>
          </p:cNvPr>
          <p:cNvSpPr/>
          <p:nvPr/>
        </p:nvSpPr>
        <p:spPr>
          <a:xfrm>
            <a:off x="22779800" y="1588168"/>
            <a:ext cx="144000" cy="144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33" name="Elipse 32">
            <a:extLst>
              <a:ext uri="{FF2B5EF4-FFF2-40B4-BE49-F238E27FC236}">
                <a16:creationId xmlns:a16="http://schemas.microsoft.com/office/drawing/2014/main" xmlns="" id="{F3B62BD8-1F51-4954-9391-09352561C848}"/>
              </a:ext>
            </a:extLst>
          </p:cNvPr>
          <p:cNvSpPr/>
          <p:nvPr/>
        </p:nvSpPr>
        <p:spPr>
          <a:xfrm>
            <a:off x="23613990" y="1588168"/>
            <a:ext cx="144000" cy="144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34" name="Elipse 33">
            <a:extLst>
              <a:ext uri="{FF2B5EF4-FFF2-40B4-BE49-F238E27FC236}">
                <a16:creationId xmlns:a16="http://schemas.microsoft.com/office/drawing/2014/main" xmlns="" id="{E0676721-7B98-4D14-B4EA-C134F097C177}"/>
              </a:ext>
            </a:extLst>
          </p:cNvPr>
          <p:cNvSpPr/>
          <p:nvPr/>
        </p:nvSpPr>
        <p:spPr>
          <a:xfrm>
            <a:off x="12163176" y="2809532"/>
            <a:ext cx="144000" cy="144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35" name="Elipse 34">
            <a:extLst>
              <a:ext uri="{FF2B5EF4-FFF2-40B4-BE49-F238E27FC236}">
                <a16:creationId xmlns:a16="http://schemas.microsoft.com/office/drawing/2014/main" xmlns="" id="{3462BBF3-60D1-4F97-8CA7-16070CF127B8}"/>
              </a:ext>
            </a:extLst>
          </p:cNvPr>
          <p:cNvSpPr/>
          <p:nvPr/>
        </p:nvSpPr>
        <p:spPr>
          <a:xfrm>
            <a:off x="12997366" y="2809532"/>
            <a:ext cx="144000" cy="144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36" name="Elipse 35">
            <a:extLst>
              <a:ext uri="{FF2B5EF4-FFF2-40B4-BE49-F238E27FC236}">
                <a16:creationId xmlns:a16="http://schemas.microsoft.com/office/drawing/2014/main" xmlns="" id="{93C853A3-DF7C-4300-A678-B457B7CC68AF}"/>
              </a:ext>
            </a:extLst>
          </p:cNvPr>
          <p:cNvSpPr/>
          <p:nvPr/>
        </p:nvSpPr>
        <p:spPr>
          <a:xfrm>
            <a:off x="13831556" y="2809532"/>
            <a:ext cx="144000" cy="144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37" name="Elipse 36">
            <a:extLst>
              <a:ext uri="{FF2B5EF4-FFF2-40B4-BE49-F238E27FC236}">
                <a16:creationId xmlns:a16="http://schemas.microsoft.com/office/drawing/2014/main" xmlns="" id="{57B51ABD-6A39-4B9B-B16E-D3043BAAA93D}"/>
              </a:ext>
            </a:extLst>
          </p:cNvPr>
          <p:cNvSpPr/>
          <p:nvPr/>
        </p:nvSpPr>
        <p:spPr>
          <a:xfrm>
            <a:off x="14665746" y="2809532"/>
            <a:ext cx="144000" cy="144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38" name="Elipse 37">
            <a:extLst>
              <a:ext uri="{FF2B5EF4-FFF2-40B4-BE49-F238E27FC236}">
                <a16:creationId xmlns:a16="http://schemas.microsoft.com/office/drawing/2014/main" xmlns="" id="{CBFFE7CA-D3D7-4E27-9C97-BDE0C4FE090D}"/>
              </a:ext>
            </a:extLst>
          </p:cNvPr>
          <p:cNvSpPr/>
          <p:nvPr/>
        </p:nvSpPr>
        <p:spPr>
          <a:xfrm>
            <a:off x="15499936" y="2809532"/>
            <a:ext cx="144000" cy="144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39" name="Elipse 38">
            <a:extLst>
              <a:ext uri="{FF2B5EF4-FFF2-40B4-BE49-F238E27FC236}">
                <a16:creationId xmlns:a16="http://schemas.microsoft.com/office/drawing/2014/main" xmlns="" id="{40FB8A7F-7B3B-4FD0-AFB6-8F958E79BD79}"/>
              </a:ext>
            </a:extLst>
          </p:cNvPr>
          <p:cNvSpPr/>
          <p:nvPr/>
        </p:nvSpPr>
        <p:spPr>
          <a:xfrm>
            <a:off x="16334126" y="2809532"/>
            <a:ext cx="144000" cy="144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40" name="Elipse 39">
            <a:extLst>
              <a:ext uri="{FF2B5EF4-FFF2-40B4-BE49-F238E27FC236}">
                <a16:creationId xmlns:a16="http://schemas.microsoft.com/office/drawing/2014/main" xmlns="" id="{E003905E-931B-4562-9A9B-061272721DF3}"/>
              </a:ext>
            </a:extLst>
          </p:cNvPr>
          <p:cNvSpPr/>
          <p:nvPr/>
        </p:nvSpPr>
        <p:spPr>
          <a:xfrm>
            <a:off x="17168316" y="2809532"/>
            <a:ext cx="144000" cy="144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41" name="Elipse 40">
            <a:extLst>
              <a:ext uri="{FF2B5EF4-FFF2-40B4-BE49-F238E27FC236}">
                <a16:creationId xmlns:a16="http://schemas.microsoft.com/office/drawing/2014/main" xmlns="" id="{2442E66E-2756-435C-94E9-A8CB3A7192F9}"/>
              </a:ext>
            </a:extLst>
          </p:cNvPr>
          <p:cNvSpPr/>
          <p:nvPr/>
        </p:nvSpPr>
        <p:spPr>
          <a:xfrm>
            <a:off x="18002506" y="2809532"/>
            <a:ext cx="144000" cy="144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42" name="Elipse 41">
            <a:extLst>
              <a:ext uri="{FF2B5EF4-FFF2-40B4-BE49-F238E27FC236}">
                <a16:creationId xmlns:a16="http://schemas.microsoft.com/office/drawing/2014/main" xmlns="" id="{E42858C6-B6C4-478A-87AC-A7796445BA93}"/>
              </a:ext>
            </a:extLst>
          </p:cNvPr>
          <p:cNvSpPr/>
          <p:nvPr/>
        </p:nvSpPr>
        <p:spPr>
          <a:xfrm>
            <a:off x="18836696" y="2809532"/>
            <a:ext cx="144000" cy="144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43" name="Elipse 42">
            <a:extLst>
              <a:ext uri="{FF2B5EF4-FFF2-40B4-BE49-F238E27FC236}">
                <a16:creationId xmlns:a16="http://schemas.microsoft.com/office/drawing/2014/main" xmlns="" id="{AD851D9D-0CDA-431F-B7ED-45256B083BFA}"/>
              </a:ext>
            </a:extLst>
          </p:cNvPr>
          <p:cNvSpPr/>
          <p:nvPr/>
        </p:nvSpPr>
        <p:spPr>
          <a:xfrm>
            <a:off x="19670886" y="2809532"/>
            <a:ext cx="144000" cy="144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44" name="Elipse 43">
            <a:extLst>
              <a:ext uri="{FF2B5EF4-FFF2-40B4-BE49-F238E27FC236}">
                <a16:creationId xmlns:a16="http://schemas.microsoft.com/office/drawing/2014/main" xmlns="" id="{3A92B80B-A3D2-41B8-B1BB-6195C1E7F386}"/>
              </a:ext>
            </a:extLst>
          </p:cNvPr>
          <p:cNvSpPr/>
          <p:nvPr/>
        </p:nvSpPr>
        <p:spPr>
          <a:xfrm>
            <a:off x="20505076" y="2809532"/>
            <a:ext cx="144000" cy="144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45" name="Elipse 44">
            <a:extLst>
              <a:ext uri="{FF2B5EF4-FFF2-40B4-BE49-F238E27FC236}">
                <a16:creationId xmlns:a16="http://schemas.microsoft.com/office/drawing/2014/main" xmlns="" id="{75350338-FB59-4437-B70B-1764E0B5BD97}"/>
              </a:ext>
            </a:extLst>
          </p:cNvPr>
          <p:cNvSpPr/>
          <p:nvPr/>
        </p:nvSpPr>
        <p:spPr>
          <a:xfrm>
            <a:off x="21339266" y="2809532"/>
            <a:ext cx="144000" cy="144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46" name="Elipse 45">
            <a:extLst>
              <a:ext uri="{FF2B5EF4-FFF2-40B4-BE49-F238E27FC236}">
                <a16:creationId xmlns:a16="http://schemas.microsoft.com/office/drawing/2014/main" xmlns="" id="{7D032E1D-C3E1-49A4-B96C-30F5FF65CAA0}"/>
              </a:ext>
            </a:extLst>
          </p:cNvPr>
          <p:cNvSpPr/>
          <p:nvPr/>
        </p:nvSpPr>
        <p:spPr>
          <a:xfrm>
            <a:off x="22173456" y="2809532"/>
            <a:ext cx="144000" cy="144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47" name="Elipse 46">
            <a:extLst>
              <a:ext uri="{FF2B5EF4-FFF2-40B4-BE49-F238E27FC236}">
                <a16:creationId xmlns:a16="http://schemas.microsoft.com/office/drawing/2014/main" xmlns="" id="{F204466A-AAA3-4FDA-8682-B0770C1B8E6F}"/>
              </a:ext>
            </a:extLst>
          </p:cNvPr>
          <p:cNvSpPr/>
          <p:nvPr/>
        </p:nvSpPr>
        <p:spPr>
          <a:xfrm>
            <a:off x="23007646" y="2809532"/>
            <a:ext cx="144000" cy="144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48" name="Elipse 47">
            <a:extLst>
              <a:ext uri="{FF2B5EF4-FFF2-40B4-BE49-F238E27FC236}">
                <a16:creationId xmlns:a16="http://schemas.microsoft.com/office/drawing/2014/main" xmlns="" id="{D72C9EAF-EE3A-4BBE-8911-25724F703BA4}"/>
              </a:ext>
            </a:extLst>
          </p:cNvPr>
          <p:cNvSpPr/>
          <p:nvPr/>
        </p:nvSpPr>
        <p:spPr>
          <a:xfrm>
            <a:off x="23841836" y="2809532"/>
            <a:ext cx="144000" cy="144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49" name="Elipse 48">
            <a:extLst>
              <a:ext uri="{FF2B5EF4-FFF2-40B4-BE49-F238E27FC236}">
                <a16:creationId xmlns:a16="http://schemas.microsoft.com/office/drawing/2014/main" xmlns="" id="{BDB1D7F8-C71B-4640-AD67-525ECC30D5E2}"/>
              </a:ext>
            </a:extLst>
          </p:cNvPr>
          <p:cNvSpPr/>
          <p:nvPr/>
        </p:nvSpPr>
        <p:spPr>
          <a:xfrm>
            <a:off x="10266950" y="4046012"/>
            <a:ext cx="144000" cy="144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50" name="Elipse 49">
            <a:extLst>
              <a:ext uri="{FF2B5EF4-FFF2-40B4-BE49-F238E27FC236}">
                <a16:creationId xmlns:a16="http://schemas.microsoft.com/office/drawing/2014/main" xmlns="" id="{99FFDE8B-7001-4768-9504-5A988DD6B6E6}"/>
              </a:ext>
            </a:extLst>
          </p:cNvPr>
          <p:cNvSpPr/>
          <p:nvPr/>
        </p:nvSpPr>
        <p:spPr>
          <a:xfrm>
            <a:off x="11101140" y="4046012"/>
            <a:ext cx="144000" cy="144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51" name="Elipse 50">
            <a:extLst>
              <a:ext uri="{FF2B5EF4-FFF2-40B4-BE49-F238E27FC236}">
                <a16:creationId xmlns:a16="http://schemas.microsoft.com/office/drawing/2014/main" xmlns="" id="{8D4A9633-9112-43C2-B1D6-A76903BDFF11}"/>
              </a:ext>
            </a:extLst>
          </p:cNvPr>
          <p:cNvSpPr/>
          <p:nvPr/>
        </p:nvSpPr>
        <p:spPr>
          <a:xfrm>
            <a:off x="11935330" y="4046012"/>
            <a:ext cx="144000" cy="144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52" name="Elipse 51">
            <a:extLst>
              <a:ext uri="{FF2B5EF4-FFF2-40B4-BE49-F238E27FC236}">
                <a16:creationId xmlns:a16="http://schemas.microsoft.com/office/drawing/2014/main" xmlns="" id="{7FB3C981-402B-46F6-A916-A777DED54EAC}"/>
              </a:ext>
            </a:extLst>
          </p:cNvPr>
          <p:cNvSpPr/>
          <p:nvPr/>
        </p:nvSpPr>
        <p:spPr>
          <a:xfrm>
            <a:off x="12769520" y="4046012"/>
            <a:ext cx="144000" cy="144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53" name="Elipse 52">
            <a:extLst>
              <a:ext uri="{FF2B5EF4-FFF2-40B4-BE49-F238E27FC236}">
                <a16:creationId xmlns:a16="http://schemas.microsoft.com/office/drawing/2014/main" xmlns="" id="{C2AC7C13-0DAE-4534-9BC7-AB05C4B69831}"/>
              </a:ext>
            </a:extLst>
          </p:cNvPr>
          <p:cNvSpPr/>
          <p:nvPr/>
        </p:nvSpPr>
        <p:spPr>
          <a:xfrm>
            <a:off x="13603710" y="4046012"/>
            <a:ext cx="144000" cy="144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54" name="Elipse 53">
            <a:extLst>
              <a:ext uri="{FF2B5EF4-FFF2-40B4-BE49-F238E27FC236}">
                <a16:creationId xmlns:a16="http://schemas.microsoft.com/office/drawing/2014/main" xmlns="" id="{EB006416-B1BE-4628-8109-CB9B8750AB3D}"/>
              </a:ext>
            </a:extLst>
          </p:cNvPr>
          <p:cNvSpPr/>
          <p:nvPr/>
        </p:nvSpPr>
        <p:spPr>
          <a:xfrm>
            <a:off x="14437900" y="4046012"/>
            <a:ext cx="144000" cy="144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55" name="Elipse 54">
            <a:extLst>
              <a:ext uri="{FF2B5EF4-FFF2-40B4-BE49-F238E27FC236}">
                <a16:creationId xmlns:a16="http://schemas.microsoft.com/office/drawing/2014/main" xmlns="" id="{F1B0EE8A-A4F9-4D9D-8D35-D0592FC9FE99}"/>
              </a:ext>
            </a:extLst>
          </p:cNvPr>
          <p:cNvSpPr/>
          <p:nvPr/>
        </p:nvSpPr>
        <p:spPr>
          <a:xfrm>
            <a:off x="15272090" y="4046012"/>
            <a:ext cx="144000" cy="144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56" name="Elipse 55">
            <a:extLst>
              <a:ext uri="{FF2B5EF4-FFF2-40B4-BE49-F238E27FC236}">
                <a16:creationId xmlns:a16="http://schemas.microsoft.com/office/drawing/2014/main" xmlns="" id="{AA411F07-13ED-44C2-9AE2-B95A85469842}"/>
              </a:ext>
            </a:extLst>
          </p:cNvPr>
          <p:cNvSpPr/>
          <p:nvPr/>
        </p:nvSpPr>
        <p:spPr>
          <a:xfrm>
            <a:off x="16106280" y="4046012"/>
            <a:ext cx="144000" cy="144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57" name="Elipse 56">
            <a:extLst>
              <a:ext uri="{FF2B5EF4-FFF2-40B4-BE49-F238E27FC236}">
                <a16:creationId xmlns:a16="http://schemas.microsoft.com/office/drawing/2014/main" xmlns="" id="{6E9645FD-4FD0-4DF2-8E14-80BB0E1BFECA}"/>
              </a:ext>
            </a:extLst>
          </p:cNvPr>
          <p:cNvSpPr/>
          <p:nvPr/>
        </p:nvSpPr>
        <p:spPr>
          <a:xfrm>
            <a:off x="16940470" y="4046012"/>
            <a:ext cx="144000" cy="144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58" name="Elipse 57">
            <a:extLst>
              <a:ext uri="{FF2B5EF4-FFF2-40B4-BE49-F238E27FC236}">
                <a16:creationId xmlns:a16="http://schemas.microsoft.com/office/drawing/2014/main" xmlns="" id="{F2313E5E-6103-4E43-A001-234D115E8821}"/>
              </a:ext>
            </a:extLst>
          </p:cNvPr>
          <p:cNvSpPr/>
          <p:nvPr/>
        </p:nvSpPr>
        <p:spPr>
          <a:xfrm>
            <a:off x="17774660" y="4046012"/>
            <a:ext cx="144000" cy="144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59" name="Elipse 58">
            <a:extLst>
              <a:ext uri="{FF2B5EF4-FFF2-40B4-BE49-F238E27FC236}">
                <a16:creationId xmlns:a16="http://schemas.microsoft.com/office/drawing/2014/main" xmlns="" id="{8F34CC91-04C4-4837-BF04-C670A5717D3B}"/>
              </a:ext>
            </a:extLst>
          </p:cNvPr>
          <p:cNvSpPr/>
          <p:nvPr/>
        </p:nvSpPr>
        <p:spPr>
          <a:xfrm>
            <a:off x="18608850" y="4046012"/>
            <a:ext cx="144000" cy="144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60" name="Elipse 59">
            <a:extLst>
              <a:ext uri="{FF2B5EF4-FFF2-40B4-BE49-F238E27FC236}">
                <a16:creationId xmlns:a16="http://schemas.microsoft.com/office/drawing/2014/main" xmlns="" id="{1F0CE797-A4FE-42FC-BD00-C77EFCF25037}"/>
              </a:ext>
            </a:extLst>
          </p:cNvPr>
          <p:cNvSpPr/>
          <p:nvPr/>
        </p:nvSpPr>
        <p:spPr>
          <a:xfrm>
            <a:off x="19443040" y="4046012"/>
            <a:ext cx="144000" cy="144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61" name="Elipse 60">
            <a:extLst>
              <a:ext uri="{FF2B5EF4-FFF2-40B4-BE49-F238E27FC236}">
                <a16:creationId xmlns:a16="http://schemas.microsoft.com/office/drawing/2014/main" xmlns="" id="{F0FA2066-CCA1-40D4-B19D-2C7CE869E4CB}"/>
              </a:ext>
            </a:extLst>
          </p:cNvPr>
          <p:cNvSpPr/>
          <p:nvPr/>
        </p:nvSpPr>
        <p:spPr>
          <a:xfrm>
            <a:off x="20277230" y="4046012"/>
            <a:ext cx="144000" cy="144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62" name="Elipse 61">
            <a:extLst>
              <a:ext uri="{FF2B5EF4-FFF2-40B4-BE49-F238E27FC236}">
                <a16:creationId xmlns:a16="http://schemas.microsoft.com/office/drawing/2014/main" xmlns="" id="{5D79C067-86E6-48E6-88F8-44F5FA4EFD9B}"/>
              </a:ext>
            </a:extLst>
          </p:cNvPr>
          <p:cNvSpPr/>
          <p:nvPr/>
        </p:nvSpPr>
        <p:spPr>
          <a:xfrm>
            <a:off x="21111420" y="4046012"/>
            <a:ext cx="144000" cy="144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63" name="Elipse 62">
            <a:extLst>
              <a:ext uri="{FF2B5EF4-FFF2-40B4-BE49-F238E27FC236}">
                <a16:creationId xmlns:a16="http://schemas.microsoft.com/office/drawing/2014/main" xmlns="" id="{9A60BF34-027A-4022-A384-84D5BC1AFE8F}"/>
              </a:ext>
            </a:extLst>
          </p:cNvPr>
          <p:cNvSpPr/>
          <p:nvPr/>
        </p:nvSpPr>
        <p:spPr>
          <a:xfrm>
            <a:off x="21945610" y="4046012"/>
            <a:ext cx="144000" cy="144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64" name="Elipse 63">
            <a:extLst>
              <a:ext uri="{FF2B5EF4-FFF2-40B4-BE49-F238E27FC236}">
                <a16:creationId xmlns:a16="http://schemas.microsoft.com/office/drawing/2014/main" xmlns="" id="{52DF8DCF-7BE8-478C-AEF0-CAAA4FD690CD}"/>
              </a:ext>
            </a:extLst>
          </p:cNvPr>
          <p:cNvSpPr/>
          <p:nvPr/>
        </p:nvSpPr>
        <p:spPr>
          <a:xfrm>
            <a:off x="22779800" y="4046012"/>
            <a:ext cx="144000" cy="144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65" name="Elipse 64">
            <a:extLst>
              <a:ext uri="{FF2B5EF4-FFF2-40B4-BE49-F238E27FC236}">
                <a16:creationId xmlns:a16="http://schemas.microsoft.com/office/drawing/2014/main" xmlns="" id="{7BBED645-0BCF-475C-83AB-2B4106F47EF0}"/>
              </a:ext>
            </a:extLst>
          </p:cNvPr>
          <p:cNvSpPr/>
          <p:nvPr/>
        </p:nvSpPr>
        <p:spPr>
          <a:xfrm>
            <a:off x="23613990" y="4046012"/>
            <a:ext cx="144000" cy="144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xmlns="" id="{15593BB5-FA93-47AC-BF62-5A1DF389676F}"/>
              </a:ext>
            </a:extLst>
          </p:cNvPr>
          <p:cNvSpPr txBox="1"/>
          <p:nvPr/>
        </p:nvSpPr>
        <p:spPr>
          <a:xfrm>
            <a:off x="4953000" y="7698007"/>
            <a:ext cx="18430736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8800" b="1" i="1">
                <a:solidFill>
                  <a:schemeClr val="tx1"/>
                </a:solidFill>
              </a:rPr>
              <a:t>Definindo nossas Bandeiras</a:t>
            </a:r>
          </a:p>
        </p:txBody>
      </p:sp>
      <p:sp>
        <p:nvSpPr>
          <p:cNvPr id="70" name="CaixaDeTexto 69">
            <a:extLst>
              <a:ext uri="{FF2B5EF4-FFF2-40B4-BE49-F238E27FC236}">
                <a16:creationId xmlns:a16="http://schemas.microsoft.com/office/drawing/2014/main" xmlns="" id="{75C346E0-7C71-41B0-8B97-6DAAD3B57EE4}"/>
              </a:ext>
            </a:extLst>
          </p:cNvPr>
          <p:cNvSpPr txBox="1"/>
          <p:nvPr/>
        </p:nvSpPr>
        <p:spPr>
          <a:xfrm>
            <a:off x="1" y="11114895"/>
            <a:ext cx="24340824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hangingPunct="1"/>
            <a:r>
              <a:rPr lang="pt-BR" sz="6600" b="1">
                <a:solidFill>
                  <a:schemeClr val="bg1"/>
                </a:solidFill>
              </a:rPr>
              <a:t>Consolidação do Planejamento Estratégico 2022-2025</a:t>
            </a:r>
          </a:p>
        </p:txBody>
      </p:sp>
      <p:pic>
        <p:nvPicPr>
          <p:cNvPr id="10" name="Imagem 9" descr="Logotipo, nome da empresa&#10;&#10;Descrição gerada automaticamente">
            <a:extLst>
              <a:ext uri="{FF2B5EF4-FFF2-40B4-BE49-F238E27FC236}">
                <a16:creationId xmlns:a16="http://schemas.microsoft.com/office/drawing/2014/main" xmlns="" id="{9E6C9538-1E33-4B58-9D1E-BFFF030A7A2F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4162" y="6434710"/>
            <a:ext cx="5324338" cy="40574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8663692"/>
      </p:ext>
    </p:extLst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Google Shape;40;p8"/>
          <p:cNvSpPr txBox="1"/>
          <p:nvPr/>
        </p:nvSpPr>
        <p:spPr>
          <a:xfrm>
            <a:off x="5143501" y="304802"/>
            <a:ext cx="14096998" cy="10156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6" tIns="45700" rIns="91426" bIns="45700" anchor="t" anchorCtr="0">
            <a:spAutoFit/>
          </a:bodyPr>
          <a:lstStyle/>
          <a:p>
            <a:pPr algn="ctr" defTabSz="914400" hangingPunct="1">
              <a:buClr>
                <a:srgbClr val="000000"/>
              </a:buClr>
              <a:defRPr/>
            </a:pPr>
            <a:r>
              <a:rPr lang="en-US" sz="6000" b="1" err="1">
                <a:latin typeface="Poppins"/>
                <a:ea typeface="Poppins"/>
                <a:cs typeface="Poppins"/>
                <a:sym typeface="Poppins"/>
              </a:rPr>
              <a:t>Acompanhamento</a:t>
            </a:r>
            <a:r>
              <a:rPr lang="en-US" sz="6000" b="1">
                <a:latin typeface="Poppins"/>
                <a:ea typeface="Poppins"/>
                <a:cs typeface="Poppins"/>
                <a:sym typeface="Poppins"/>
              </a:rPr>
              <a:t> de Metas</a:t>
            </a:r>
            <a:endParaRPr lang="en-US" sz="1400">
              <a:latin typeface="Arial"/>
              <a:ea typeface="+mn-ea"/>
              <a:cs typeface="Arial"/>
              <a:sym typeface="Arial"/>
            </a:endParaRPr>
          </a:p>
        </p:txBody>
      </p:sp>
      <p:graphicFrame>
        <p:nvGraphicFramePr>
          <p:cNvPr id="11" name="Tabela 10">
            <a:extLst>
              <a:ext uri="{FF2B5EF4-FFF2-40B4-BE49-F238E27FC236}">
                <a16:creationId xmlns:a16="http://schemas.microsoft.com/office/drawing/2014/main" xmlns="" id="{63591E8C-CCD2-432D-A8DA-74928DA063F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16842840"/>
              </p:ext>
            </p:extLst>
          </p:nvPr>
        </p:nvGraphicFramePr>
        <p:xfrm>
          <a:off x="185542" y="1796652"/>
          <a:ext cx="23943964" cy="10509756"/>
        </p:xfrm>
        <a:graphic>
          <a:graphicData uri="http://schemas.openxmlformats.org/drawingml/2006/table">
            <a:tbl>
              <a:tblPr/>
              <a:tblGrid>
                <a:gridCol w="2619802">
                  <a:extLst>
                    <a:ext uri="{9D8B030D-6E8A-4147-A177-3AD203B41FA5}">
                      <a16:colId xmlns:a16="http://schemas.microsoft.com/office/drawing/2014/main" xmlns="" val="738384048"/>
                    </a:ext>
                  </a:extLst>
                </a:gridCol>
                <a:gridCol w="5468644">
                  <a:extLst>
                    <a:ext uri="{9D8B030D-6E8A-4147-A177-3AD203B41FA5}">
                      <a16:colId xmlns:a16="http://schemas.microsoft.com/office/drawing/2014/main" xmlns="" val="300445978"/>
                    </a:ext>
                  </a:extLst>
                </a:gridCol>
                <a:gridCol w="1242874">
                  <a:extLst>
                    <a:ext uri="{9D8B030D-6E8A-4147-A177-3AD203B41FA5}">
                      <a16:colId xmlns:a16="http://schemas.microsoft.com/office/drawing/2014/main" xmlns="" val="1140264468"/>
                    </a:ext>
                  </a:extLst>
                </a:gridCol>
                <a:gridCol w="14612644">
                  <a:extLst>
                    <a:ext uri="{9D8B030D-6E8A-4147-A177-3AD203B41FA5}">
                      <a16:colId xmlns:a16="http://schemas.microsoft.com/office/drawing/2014/main" xmlns="" val="1347093459"/>
                    </a:ext>
                  </a:extLst>
                </a:gridCol>
              </a:tblGrid>
              <a:tr h="653584">
                <a:tc gridSpan="4">
                  <a:txBody>
                    <a:bodyPr/>
                    <a:lstStyle/>
                    <a:p>
                      <a:pPr algn="ctr" fontAlgn="b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pt-BR" sz="2800" b="1" i="0" u="none" strike="noStrike">
                          <a:solidFill>
                            <a:srgbClr val="FFFFFF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BANDEIRA 3: SEGURANÇA DE MERCADO (26,9%)</a:t>
                      </a:r>
                    </a:p>
                  </a:txBody>
                  <a:tcPr marL="8508" marR="8508" marT="850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>
                    <a:lnL w="12700" cmpd="sng">
                      <a:noFill/>
                      <a:prstDash val="solid"/>
                    </a:lnL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>
                    <a:lnL w="12700" cmpd="sng">
                      <a:noFill/>
                      <a:prstDash val="soli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pt-BR" sz="12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54" marR="4254" marT="425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077937826"/>
                  </a:ext>
                </a:extLst>
              </a:tr>
              <a:tr h="692460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2200" b="1" i="0" u="none" strike="noStrike" kern="1200">
                          <a:solidFill>
                            <a:srgbClr val="FFFFFF"/>
                          </a:solidFill>
                          <a:effectLst/>
                          <a:latin typeface="Poppins" pitchFamily="50" charset="0"/>
                          <a:ea typeface="+mn-ea"/>
                          <a:cs typeface="Poppins" pitchFamily="50" charset="0"/>
                        </a:rPr>
                        <a:t>Metas </a:t>
                      </a:r>
                    </a:p>
                  </a:txBody>
                  <a:tcPr marL="8508" marR="8508" marT="8508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200" b="1" i="0" u="none" strike="noStrike">
                          <a:solidFill>
                            <a:schemeClr val="bg1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Atividade</a:t>
                      </a:r>
                      <a:endParaRPr lang="pt-BR" sz="2200">
                        <a:solidFill>
                          <a:schemeClr val="bg1"/>
                        </a:solidFill>
                        <a:latin typeface="Poppins" pitchFamily="50" charset="0"/>
                        <a:cs typeface="Poppins" pitchFamily="50" charset="0"/>
                      </a:endParaRPr>
                    </a:p>
                  </a:txBody>
                  <a:tcPr marL="8508" marR="8508" marT="8508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200" b="1" i="0" u="none" strike="noStrike">
                          <a:solidFill>
                            <a:srgbClr val="FFFFFF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Peso</a:t>
                      </a:r>
                      <a:endParaRPr lang="pt-BR" sz="2200">
                        <a:latin typeface="Poppins" pitchFamily="50" charset="0"/>
                        <a:cs typeface="Poppins" pitchFamily="50" charset="0"/>
                      </a:endParaRPr>
                    </a:p>
                  </a:txBody>
                  <a:tcPr marL="8508" marR="8508" marT="8508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200" b="1" i="0" u="none" strike="noStrike">
                          <a:solidFill>
                            <a:srgbClr val="FFFFFF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Principais</a:t>
                      </a:r>
                      <a:r>
                        <a:rPr lang="pt-BR" sz="2200" b="1" i="0" u="none" strike="noStrike" baseline="0">
                          <a:solidFill>
                            <a:srgbClr val="FFFFFF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 resultados</a:t>
                      </a:r>
                      <a:endParaRPr lang="pt-BR" sz="2200" b="1" i="0" u="none" strike="noStrike">
                        <a:solidFill>
                          <a:srgbClr val="FFFFFF"/>
                        </a:solidFill>
                        <a:effectLst/>
                        <a:latin typeface="Poppins" pitchFamily="50" charset="0"/>
                        <a:cs typeface="Poppins" pitchFamily="50" charset="0"/>
                      </a:endParaRPr>
                    </a:p>
                  </a:txBody>
                  <a:tcPr marL="8508" marR="8508" marT="8508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011320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pt-BR" sz="2200" b="0" i="0" u="none" strike="noStrike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Desenvolver Proposta Abraceel para Sistema de Garantias</a:t>
                      </a:r>
                    </a:p>
                  </a:txBody>
                  <a:tcPr marL="8508" marR="8508" marT="8508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2200" b="0" i="0" u="none" strike="noStrike" kern="1200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ea typeface="+mn-ea"/>
                          <a:cs typeface="Poppins" pitchFamily="50" charset="0"/>
                        </a:rPr>
                        <a:t>Estudo para Proposta Abraceel de um Sistema de Garantias para segurança de mercado com custos razoáveis</a:t>
                      </a:r>
                    </a:p>
                  </a:txBody>
                  <a:tcPr marL="8508" marR="8508" marT="8508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2200" b="0" i="0" u="none" strike="noStrike" kern="1200" baseline="0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ea typeface="+mn-ea"/>
                          <a:cs typeface="Poppins" pitchFamily="50" charset="0"/>
                        </a:rPr>
                        <a:t>13,7%</a:t>
                      </a:r>
                    </a:p>
                  </a:txBody>
                  <a:tcPr marL="8508" marR="8508" marT="8508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pt-BR" sz="2200" b="1" i="0" u="none" strike="noStrike" kern="1200" baseline="0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ea typeface="+mn-ea"/>
                          <a:cs typeface="Poppins" pitchFamily="50" charset="0"/>
                        </a:rPr>
                        <a:t>Abraceel desenvolve proposta com a Volt/</a:t>
                      </a:r>
                      <a:r>
                        <a:rPr lang="pt-BR" sz="2200" b="1" i="0" u="none" strike="noStrike" kern="1200" baseline="0" err="1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ea typeface="+mn-ea"/>
                          <a:cs typeface="Poppins" pitchFamily="50" charset="0"/>
                        </a:rPr>
                        <a:t>Elekto</a:t>
                      </a:r>
                      <a:r>
                        <a:rPr lang="pt-BR" sz="2200" b="1" i="0" u="none" strike="noStrike" kern="1200" baseline="0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ea typeface="+mn-ea"/>
                          <a:cs typeface="Poppins" pitchFamily="50" charset="0"/>
                        </a:rPr>
                        <a:t> e também convence CCEE de que é melhor avançar no monitoramento prudencial</a:t>
                      </a:r>
                      <a:r>
                        <a:rPr lang="pt-BR" sz="2200" b="0" i="0" u="none" strike="noStrike" kern="1200" baseline="0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ea typeface="+mn-ea"/>
                          <a:cs typeface="Poppins" pitchFamily="50" charset="0"/>
                        </a:rPr>
                        <a:t>, com os agentes informando seus próprios indicadores</a:t>
                      </a:r>
                    </a:p>
                    <a:p>
                      <a:pPr algn="ctr" rtl="0" font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pt-BR" sz="2200" b="0" i="0" u="none" strike="noStrike" kern="1200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ea typeface="+mn-ea"/>
                          <a:cs typeface="Poppins" pitchFamily="50" charset="0"/>
                        </a:rPr>
                        <a:t>Abraceel</a:t>
                      </a:r>
                      <a:r>
                        <a:rPr lang="pt-BR" sz="2200" b="0" i="0" u="none" strike="noStrike" kern="1200" baseline="0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ea typeface="+mn-ea"/>
                          <a:cs typeface="Poppins" pitchFamily="50" charset="0"/>
                        </a:rPr>
                        <a:t> sensibiliza CCEE para a necessidade de priorizar monitoramento da alavancagem </a:t>
                      </a:r>
                    </a:p>
                    <a:p>
                      <a:pPr algn="ctr" rtl="0" font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pt-BR" sz="2200" b="0" i="0" u="none" strike="noStrike" kern="1200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ea typeface="+mn-ea"/>
                          <a:cs typeface="Poppins" pitchFamily="50" charset="0"/>
                        </a:rPr>
                        <a:t>Volt/</a:t>
                      </a:r>
                      <a:r>
                        <a:rPr lang="pt-BR" sz="2200" b="0" i="0" u="none" strike="noStrike" kern="1200" err="1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ea typeface="+mn-ea"/>
                          <a:cs typeface="Poppins" pitchFamily="50" charset="0"/>
                        </a:rPr>
                        <a:t>Elekto</a:t>
                      </a:r>
                      <a:r>
                        <a:rPr lang="pt-BR" sz="2200" b="0" i="0" u="none" strike="noStrike" kern="1200" baseline="0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ea typeface="+mn-ea"/>
                          <a:cs typeface="Poppins" pitchFamily="50" charset="0"/>
                        </a:rPr>
                        <a:t> estão desenvolvendo estudo </a:t>
                      </a:r>
                      <a:r>
                        <a:rPr lang="pt-BR" sz="2200" b="0" i="0" u="none" strike="noStrike" kern="1200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ea typeface="+mn-ea"/>
                          <a:cs typeface="Poppins" pitchFamily="50" charset="0"/>
                        </a:rPr>
                        <a:t>sobre garantias financeiras,</a:t>
                      </a:r>
                      <a:r>
                        <a:rPr lang="pt-BR" sz="2200" b="0" i="0" u="none" strike="noStrike" kern="1200" baseline="0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ea typeface="+mn-ea"/>
                          <a:cs typeface="Poppins" pitchFamily="50" charset="0"/>
                        </a:rPr>
                        <a:t> com previsão de conclusão em dez/21</a:t>
                      </a:r>
                      <a:endParaRPr lang="pt-BR" sz="2200" b="0" i="0" u="none" strike="noStrike" kern="1200">
                        <a:solidFill>
                          <a:schemeClr val="bg2"/>
                        </a:solidFill>
                        <a:effectLst/>
                        <a:latin typeface="Poppins" pitchFamily="50" charset="0"/>
                        <a:ea typeface="+mn-ea"/>
                        <a:cs typeface="Poppins" pitchFamily="50" charset="0"/>
                      </a:endParaRPr>
                    </a:p>
                  </a:txBody>
                  <a:tcPr marL="8508" marR="8508" marT="8508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084349979"/>
                  </a:ext>
                </a:extLst>
              </a:tr>
              <a:tr h="2541674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200" b="0" i="0" u="none" strike="noStrike" kern="1200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ea typeface="+mn-ea"/>
                          <a:cs typeface="Poppins" pitchFamily="50" charset="0"/>
                        </a:rPr>
                        <a:t>Avaliar a contratação de consultoria</a:t>
                      </a:r>
                    </a:p>
                    <a:p>
                      <a:pPr algn="ctr"/>
                      <a:r>
                        <a:rPr lang="pt-BR" sz="2200" b="0" i="0" u="none" strike="noStrike" kern="1200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ea typeface="+mn-ea"/>
                          <a:cs typeface="Poppins" pitchFamily="50" charset="0"/>
                        </a:rPr>
                        <a:t> para suportar o processo</a:t>
                      </a:r>
                    </a:p>
                  </a:txBody>
                  <a:tcPr marL="8508" marR="8508" marT="8508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r>
                        <a:rPr lang="pt-BR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-</a:t>
                      </a:r>
                      <a:endParaRPr lang="pt-BR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54" marR="4254" marT="4254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656934803"/>
                  </a:ext>
                </a:extLst>
              </a:tr>
              <a:tr h="2720622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pt-BR" sz="2200" b="0" i="0" u="none" strike="noStrike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Atuar para dar robustez às propostas CCEE e ANEEL</a:t>
                      </a:r>
                    </a:p>
                  </a:txBody>
                  <a:tcPr marL="8508" marR="8508" marT="8508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pt-BR" sz="2200" b="0" i="0" u="none" strike="noStrike" kern="1200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ea typeface="+mn-ea"/>
                          <a:cs typeface="Poppins" pitchFamily="50" charset="0"/>
                        </a:rPr>
                        <a:t>Discutir todas as propostas CCEE e Aneel com as associadas, realizar críticas construtivas e propor caminhos para que os mecanismos que venham a ser implantados sejam consistentes com as necessidades de mercado</a:t>
                      </a:r>
                    </a:p>
                  </a:txBody>
                  <a:tcPr marL="8508" marR="8508" marT="8508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2200" b="0" i="0" u="none" strike="noStrike" baseline="0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13,2%</a:t>
                      </a:r>
                    </a:p>
                  </a:txBody>
                  <a:tcPr marL="8508" marR="8508" marT="8508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2200" b="1" i="0" u="none" strike="noStrike" baseline="0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Aneel acata proposta </a:t>
                      </a:r>
                      <a:r>
                        <a:rPr lang="pt-BR" sz="2200" b="1" i="0" u="none" strike="noStrike" baseline="0" err="1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Abraceel</a:t>
                      </a:r>
                      <a:r>
                        <a:rPr lang="pt-BR" sz="2200" b="1" i="0" u="none" strike="noStrike" baseline="0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 e propõe garantias financeiras no MVE</a:t>
                      </a:r>
                      <a:r>
                        <a:rPr lang="pt-BR" sz="2200" b="0" i="0" u="none" strike="noStrike" baseline="0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; Associação envia propostas de aprimoramento na metodologia das garantias de fiel cumprimento em discussão na CP 46/2021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2200" b="1" i="0" u="none" strike="noStrike" baseline="0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Contribuição </a:t>
                      </a:r>
                      <a:r>
                        <a:rPr lang="pt-BR" sz="2200" b="1" i="0" u="none" strike="noStrike" baseline="0" err="1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Abraceel</a:t>
                      </a:r>
                      <a:r>
                        <a:rPr lang="pt-BR" sz="2200" b="1" i="0" u="none" strike="noStrike" baseline="0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 à CP 51/2021 da Aneel</a:t>
                      </a:r>
                      <a:r>
                        <a:rPr lang="pt-BR" sz="2200" b="0" i="0" u="none" strike="noStrike" baseline="0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, que trata dos critérios de entrada, manutenção e saída de comercializadoras no mercado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2200" b="0" i="0" u="none" strike="noStrike" baseline="0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Alinhada com propostas da </a:t>
                      </a:r>
                      <a:r>
                        <a:rPr lang="pt-BR" sz="2200" b="0" i="0" u="none" strike="noStrike" baseline="0" err="1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Abraceel</a:t>
                      </a:r>
                      <a:r>
                        <a:rPr lang="pt-BR" sz="2200" b="0" i="0" u="none" strike="noStrike" baseline="0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, </a:t>
                      </a:r>
                      <a:r>
                        <a:rPr lang="pt-BR" sz="2200" b="0" i="0" u="none" strike="noStrike" baseline="0">
                          <a:solidFill>
                            <a:schemeClr val="tx1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CCEE aprova melhorias </a:t>
                      </a:r>
                      <a:r>
                        <a:rPr lang="pt-BR" sz="2200" b="0" i="0" u="none" strike="noStrike" baseline="0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na Convenção Arbitral (</a:t>
                      </a:r>
                      <a:r>
                        <a:rPr lang="pt-BR" sz="2200" b="0" i="0" u="none" strike="noStrike" baseline="0" err="1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ex</a:t>
                      </a:r>
                      <a:r>
                        <a:rPr lang="pt-BR" sz="2200" b="0" i="0" u="none" strike="noStrike" baseline="0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: aumento do número de Câmara Arbitrais)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2200" b="0" i="0" u="none" strike="noStrike" baseline="0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Workshop </a:t>
                      </a:r>
                      <a:r>
                        <a:rPr lang="pt-BR" sz="2200" b="0" i="0" u="none" strike="noStrike" baseline="0" err="1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Abraceel</a:t>
                      </a:r>
                      <a:r>
                        <a:rPr lang="pt-BR" sz="2200" b="0" i="0" u="none" strike="noStrike" baseline="0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 de Gestão de Riscos</a:t>
                      </a:r>
                    </a:p>
                  </a:txBody>
                  <a:tcPr marL="8508" marR="8508" marT="8508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85566880"/>
                  </a:ext>
                </a:extLst>
              </a:tr>
              <a:tr h="1890096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200" b="0" i="0" u="none" strike="noStrike" kern="1200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ea typeface="+mn-ea"/>
                          <a:cs typeface="Poppins" pitchFamily="50" charset="0"/>
                        </a:rPr>
                        <a:t>Propor aprimoramentos para que as medidas tragam segurança com custos razoáveis</a:t>
                      </a:r>
                    </a:p>
                  </a:txBody>
                  <a:tcPr marL="8508" marR="8508" marT="8508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278439104"/>
                  </a:ext>
                </a:extLst>
              </a:tr>
            </a:tbl>
          </a:graphicData>
        </a:graphic>
      </p:graphicFrame>
      <p:pic>
        <p:nvPicPr>
          <p:cNvPr id="5" name="Picture 2" descr="Semáforo - Download Vetores Gratis, Desenhos de Vetor, Modelos e Clipart">
            <a:extLst>
              <a:ext uri="{FF2B5EF4-FFF2-40B4-BE49-F238E27FC236}">
                <a16:creationId xmlns:a16="http://schemas.microsoft.com/office/drawing/2014/main" xmlns="" id="{65B00869-EBB8-41D4-8EAB-6E3828582A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93835" y="84522"/>
            <a:ext cx="1270114" cy="11967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CaixaDeTexto 5">
            <a:extLst>
              <a:ext uri="{FF2B5EF4-FFF2-40B4-BE49-F238E27FC236}">
                <a16:creationId xmlns:a16="http://schemas.microsoft.com/office/drawing/2014/main" xmlns="" id="{E36FB14B-F29F-4F90-A310-4E7F59932E09}"/>
              </a:ext>
            </a:extLst>
          </p:cNvPr>
          <p:cNvSpPr txBox="1"/>
          <p:nvPr/>
        </p:nvSpPr>
        <p:spPr>
          <a:xfrm flipH="1">
            <a:off x="19448981" y="61972"/>
            <a:ext cx="282448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hangingPunct="1">
              <a:buClr>
                <a:srgbClr val="000000"/>
              </a:buClr>
            </a:pPr>
            <a:r>
              <a:rPr lang="pt-BR" sz="2400">
                <a:latin typeface="Poppins" pitchFamily="50" charset="0"/>
                <a:cs typeface="Poppins" pitchFamily="50" charset="0"/>
                <a:sym typeface="Arial"/>
              </a:rPr>
              <a:t>Atrasada</a:t>
            </a:r>
          </a:p>
          <a:p>
            <a:pPr hangingPunct="1">
              <a:buClr>
                <a:srgbClr val="000000"/>
              </a:buClr>
            </a:pPr>
            <a:r>
              <a:rPr lang="pt-BR" sz="2400">
                <a:latin typeface="Poppins" pitchFamily="50" charset="0"/>
                <a:cs typeface="Poppins" pitchFamily="50" charset="0"/>
                <a:sym typeface="Arial"/>
              </a:rPr>
              <a:t>Atenção</a:t>
            </a:r>
          </a:p>
          <a:p>
            <a:pPr hangingPunct="1">
              <a:buClr>
                <a:srgbClr val="000000"/>
              </a:buClr>
            </a:pPr>
            <a:r>
              <a:rPr lang="pt-BR" sz="2400">
                <a:latin typeface="Poppins" pitchFamily="50" charset="0"/>
                <a:cs typeface="Poppins" pitchFamily="50" charset="0"/>
                <a:sym typeface="Arial"/>
              </a:rPr>
              <a:t>Avançada</a:t>
            </a:r>
          </a:p>
        </p:txBody>
      </p:sp>
      <p:sp>
        <p:nvSpPr>
          <p:cNvPr id="13" name="Fluxograma: Conector 12">
            <a:extLst>
              <a:ext uri="{FF2B5EF4-FFF2-40B4-BE49-F238E27FC236}">
                <a16:creationId xmlns:a16="http://schemas.microsoft.com/office/drawing/2014/main" xmlns="" id="{E282F460-6F69-41CE-B0E5-34AA39E03CA3}"/>
              </a:ext>
            </a:extLst>
          </p:cNvPr>
          <p:cNvSpPr/>
          <p:nvPr/>
        </p:nvSpPr>
        <p:spPr>
          <a:xfrm>
            <a:off x="8654427" y="5692760"/>
            <a:ext cx="490402" cy="447040"/>
          </a:xfrm>
          <a:prstGeom prst="flowChartConnector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hangingPunct="1">
              <a:buClr>
                <a:srgbClr val="000000"/>
              </a:buClr>
            </a:pPr>
            <a:endParaRPr lang="pt-BR" sz="2800">
              <a:solidFill>
                <a:srgbClr val="FFFFFF"/>
              </a:solidFill>
              <a:latin typeface="Arial"/>
              <a:sym typeface="Arial"/>
            </a:endParaRPr>
          </a:p>
        </p:txBody>
      </p:sp>
      <p:sp>
        <p:nvSpPr>
          <p:cNvPr id="14" name="Fluxograma: Conector 13">
            <a:extLst>
              <a:ext uri="{FF2B5EF4-FFF2-40B4-BE49-F238E27FC236}">
                <a16:creationId xmlns:a16="http://schemas.microsoft.com/office/drawing/2014/main" xmlns="" id="{E282F460-6F69-41CE-B0E5-34AA39E03CA3}"/>
              </a:ext>
            </a:extLst>
          </p:cNvPr>
          <p:cNvSpPr/>
          <p:nvPr/>
        </p:nvSpPr>
        <p:spPr>
          <a:xfrm>
            <a:off x="8654427" y="10271866"/>
            <a:ext cx="490402" cy="447040"/>
          </a:xfrm>
          <a:prstGeom prst="flowChartConnector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hangingPunct="1">
              <a:buClr>
                <a:srgbClr val="000000"/>
              </a:buClr>
            </a:pPr>
            <a:endParaRPr lang="pt-BR" sz="2800">
              <a:solidFill>
                <a:srgbClr val="FFFFFF"/>
              </a:solidFill>
              <a:latin typeface="Arial"/>
              <a:sym typeface="Arial"/>
            </a:endParaRPr>
          </a:p>
        </p:txBody>
      </p:sp>
      <p:sp>
        <p:nvSpPr>
          <p:cNvPr id="15" name="CaixaDeTexto 14"/>
          <p:cNvSpPr txBox="1"/>
          <p:nvPr/>
        </p:nvSpPr>
        <p:spPr>
          <a:xfrm>
            <a:off x="22673568" y="1"/>
            <a:ext cx="17104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hangingPunct="1">
              <a:buClr>
                <a:srgbClr val="000000"/>
              </a:buClr>
            </a:pPr>
            <a:r>
              <a:rPr lang="pt-BR" sz="1600">
                <a:latin typeface="Poppins"/>
                <a:cs typeface="Arial"/>
                <a:sym typeface="Arial"/>
              </a:rPr>
              <a:t>05/10/2021</a:t>
            </a:r>
          </a:p>
        </p:txBody>
      </p:sp>
    </p:spTree>
    <p:extLst>
      <p:ext uri="{BB962C8B-B14F-4D97-AF65-F5344CB8AC3E}">
        <p14:creationId xmlns:p14="http://schemas.microsoft.com/office/powerpoint/2010/main" val="338352255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ela 9">
            <a:extLst>
              <a:ext uri="{FF2B5EF4-FFF2-40B4-BE49-F238E27FC236}">
                <a16:creationId xmlns:a16="http://schemas.microsoft.com/office/drawing/2014/main" xmlns="" id="{663AEAC0-5BF2-4CFF-8BB2-1F415E92321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0832303"/>
              </p:ext>
            </p:extLst>
          </p:nvPr>
        </p:nvGraphicFramePr>
        <p:xfrm>
          <a:off x="251765" y="1789116"/>
          <a:ext cx="23919810" cy="11633920"/>
        </p:xfrm>
        <a:graphic>
          <a:graphicData uri="http://schemas.openxmlformats.org/drawingml/2006/table">
            <a:tbl>
              <a:tblPr/>
              <a:tblGrid>
                <a:gridCol w="2624602">
                  <a:extLst>
                    <a:ext uri="{9D8B030D-6E8A-4147-A177-3AD203B41FA5}">
                      <a16:colId xmlns:a16="http://schemas.microsoft.com/office/drawing/2014/main" xmlns="" val="3925036838"/>
                    </a:ext>
                  </a:extLst>
                </a:gridCol>
                <a:gridCol w="5362112">
                  <a:extLst>
                    <a:ext uri="{9D8B030D-6E8A-4147-A177-3AD203B41FA5}">
                      <a16:colId xmlns:a16="http://schemas.microsoft.com/office/drawing/2014/main" xmlns="" val="2234182292"/>
                    </a:ext>
                  </a:extLst>
                </a:gridCol>
                <a:gridCol w="1384916">
                  <a:extLst>
                    <a:ext uri="{9D8B030D-6E8A-4147-A177-3AD203B41FA5}">
                      <a16:colId xmlns:a16="http://schemas.microsoft.com/office/drawing/2014/main" xmlns="" val="2792134579"/>
                    </a:ext>
                  </a:extLst>
                </a:gridCol>
                <a:gridCol w="14548180">
                  <a:extLst>
                    <a:ext uri="{9D8B030D-6E8A-4147-A177-3AD203B41FA5}">
                      <a16:colId xmlns:a16="http://schemas.microsoft.com/office/drawing/2014/main" xmlns="" val="888392982"/>
                    </a:ext>
                  </a:extLst>
                </a:gridCol>
              </a:tblGrid>
              <a:tr h="899836">
                <a:tc gridSpan="4">
                  <a:txBody>
                    <a:bodyPr/>
                    <a:lstStyle/>
                    <a:p>
                      <a:pPr algn="ctr" fontAlgn="b"/>
                      <a:r>
                        <a:rPr lang="pt-BR" sz="2800" b="1" i="0" u="none" strike="noStrike">
                          <a:solidFill>
                            <a:srgbClr val="FFFFFF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BANDEIRA 4:</a:t>
                      </a:r>
                      <a:r>
                        <a:rPr lang="pt-BR" sz="2800" b="1" i="0" u="none" strike="noStrike" baseline="0">
                          <a:solidFill>
                            <a:srgbClr val="FFFFFF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 </a:t>
                      </a:r>
                      <a:r>
                        <a:rPr lang="pt-BR" sz="2800" b="1" i="0" u="none" strike="noStrike">
                          <a:solidFill>
                            <a:srgbClr val="FFFFFF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DESENVOLVIMENTO DE OUTROS MERCADOS (7,4%)</a:t>
                      </a:r>
                    </a:p>
                  </a:txBody>
                  <a:tcPr marL="14650" marR="14650" marT="146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>
                    <a:lnL w="12700" cmpd="sng">
                      <a:noFill/>
                      <a:prstDash val="soli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345166851"/>
                  </a:ext>
                </a:extLst>
              </a:tr>
              <a:tr h="815586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2200" b="1" i="0" u="none" strike="noStrike" kern="1200">
                          <a:solidFill>
                            <a:srgbClr val="FFFFFF"/>
                          </a:solidFill>
                          <a:effectLst/>
                          <a:latin typeface="Poppins" pitchFamily="50" charset="0"/>
                          <a:ea typeface="+mn-ea"/>
                          <a:cs typeface="Poppins" pitchFamily="50" charset="0"/>
                        </a:rPr>
                        <a:t>Metas </a:t>
                      </a:r>
                    </a:p>
                  </a:txBody>
                  <a:tcPr marL="8508" marR="8508" marT="8508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200" b="1" i="0" u="none" strike="noStrike">
                          <a:solidFill>
                            <a:schemeClr val="bg1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Atividade</a:t>
                      </a:r>
                      <a:endParaRPr lang="pt-BR" sz="2200">
                        <a:solidFill>
                          <a:schemeClr val="bg1"/>
                        </a:solidFill>
                        <a:latin typeface="Poppins" pitchFamily="50" charset="0"/>
                        <a:cs typeface="Poppins" pitchFamily="50" charset="0"/>
                      </a:endParaRPr>
                    </a:p>
                  </a:txBody>
                  <a:tcPr marL="8508" marR="8508" marT="8508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200" b="1" i="0" u="none" strike="noStrike">
                          <a:solidFill>
                            <a:srgbClr val="FFFFFF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Peso</a:t>
                      </a:r>
                      <a:endParaRPr lang="pt-BR" sz="2200">
                        <a:latin typeface="Poppins" pitchFamily="50" charset="0"/>
                        <a:cs typeface="Poppins" pitchFamily="50" charset="0"/>
                      </a:endParaRPr>
                    </a:p>
                  </a:txBody>
                  <a:tcPr marL="8508" marR="8508" marT="850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200" b="1" i="0" u="none" strike="noStrike">
                          <a:solidFill>
                            <a:srgbClr val="FFFFFF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Principais</a:t>
                      </a:r>
                      <a:r>
                        <a:rPr lang="pt-BR" sz="2200" b="1" i="0" u="none" strike="noStrike" baseline="0">
                          <a:solidFill>
                            <a:srgbClr val="FFFFFF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 resultados</a:t>
                      </a:r>
                      <a:endParaRPr lang="pt-BR" sz="2200" b="1" i="0" u="none" strike="noStrike">
                        <a:solidFill>
                          <a:srgbClr val="FFFFFF"/>
                        </a:solidFill>
                        <a:effectLst/>
                        <a:latin typeface="Poppins" pitchFamily="50" charset="0"/>
                        <a:cs typeface="Poppins" pitchFamily="50" charset="0"/>
                      </a:endParaRPr>
                    </a:p>
                  </a:txBody>
                  <a:tcPr marL="8508" marR="8508" marT="850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593802">
                <a:tc rowSpan="3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pt-BR" sz="2200" b="0" i="0" u="none" strike="noStrike" kern="1200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ea typeface="+mn-ea"/>
                          <a:cs typeface="Poppins" pitchFamily="50" charset="0"/>
                        </a:rPr>
                        <a:t>Desenvolvimento </a:t>
                      </a:r>
                    </a:p>
                    <a:p>
                      <a:pPr marL="0" algn="ctr" defTabSz="914400" rtl="0" eaLnBrk="1" fontAlgn="ctr" latinLnBrk="0" hangingPunct="1"/>
                      <a:r>
                        <a:rPr lang="pt-BR" sz="2200" b="0" i="0" u="none" strike="noStrike" kern="1200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ea typeface="+mn-ea"/>
                          <a:cs typeface="Poppins" pitchFamily="50" charset="0"/>
                        </a:rPr>
                        <a:t>de outros mercados</a:t>
                      </a:r>
                    </a:p>
                  </a:txBody>
                  <a:tcPr marL="14650" marR="14650" marT="1465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2200" b="0" i="0" u="none" strike="noStrike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Atuar para o desenvolvimento </a:t>
                      </a:r>
                    </a:p>
                    <a:p>
                      <a:pPr algn="ctr" rtl="0" fontAlgn="ctr"/>
                      <a:r>
                        <a:rPr lang="pt-BR" sz="2200" b="0" i="0" u="none" strike="noStrike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do mercado de Derivativos</a:t>
                      </a:r>
                    </a:p>
                  </a:txBody>
                  <a:tcPr marL="14650" marR="14650" marT="1465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 rowSpan="3">
                  <a:txBody>
                    <a:bodyPr/>
                    <a:lstStyle/>
                    <a:p>
                      <a:pPr marR="0" algn="ctr" rtl="0" font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pt-BR" sz="2200" b="0" i="0" u="none" strike="noStrike" cap="none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ea typeface="+mn-ea"/>
                          <a:cs typeface="Poppins" pitchFamily="50" charset="0"/>
                          <a:sym typeface="Arial"/>
                        </a:rPr>
                        <a:t>7,4%</a:t>
                      </a:r>
                    </a:p>
                  </a:txBody>
                  <a:tcPr marL="14650" marR="14650" marT="146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font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pt-BR" sz="2200" b="1" i="0" u="none" strike="noStrike" cap="none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ea typeface="+mn-ea"/>
                          <a:cs typeface="Poppins" pitchFamily="50" charset="0"/>
                          <a:sym typeface="Arial"/>
                        </a:rPr>
                        <a:t>Cartilha</a:t>
                      </a:r>
                      <a:r>
                        <a:rPr lang="pt-BR" sz="2200" b="1" i="0" u="none" strike="noStrike" cap="none" baseline="0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ea typeface="+mn-ea"/>
                          <a:cs typeface="Poppins" pitchFamily="50" charset="0"/>
                          <a:sym typeface="Arial"/>
                        </a:rPr>
                        <a:t> de Derivativos </a:t>
                      </a:r>
                      <a:r>
                        <a:rPr lang="pt-BR" sz="2200" b="1" i="0" u="none" strike="noStrike" cap="none" baseline="0" err="1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ea typeface="+mn-ea"/>
                          <a:cs typeface="Poppins" pitchFamily="50" charset="0"/>
                          <a:sym typeface="Arial"/>
                        </a:rPr>
                        <a:t>Abraceel</a:t>
                      </a:r>
                      <a:r>
                        <a:rPr lang="pt-BR" sz="2200" b="1" i="0" u="none" strike="noStrike" cap="none" baseline="0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ea typeface="+mn-ea"/>
                          <a:cs typeface="Poppins" pitchFamily="50" charset="0"/>
                          <a:sym typeface="Arial"/>
                        </a:rPr>
                        <a:t>/BBCE</a:t>
                      </a:r>
                      <a:r>
                        <a:rPr lang="pt-BR" sz="2200" b="0" i="0" u="none" strike="noStrike" cap="none" baseline="0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ea typeface="+mn-ea"/>
                          <a:cs typeface="Poppins" pitchFamily="50" charset="0"/>
                          <a:sym typeface="Arial"/>
                        </a:rPr>
                        <a:t> tem +10 mil acessos; lançamento bate recorde de público</a:t>
                      </a:r>
                    </a:p>
                    <a:p>
                      <a:pPr marR="0" algn="ctr" rtl="0" font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pt-BR" sz="2200" b="0" i="0" u="none" strike="noStrike" cap="none" baseline="0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ea typeface="+mn-ea"/>
                          <a:cs typeface="Poppins" pitchFamily="50" charset="0"/>
                          <a:sym typeface="Arial"/>
                        </a:rPr>
                        <a:t>Lançamento do </a:t>
                      </a:r>
                      <a:r>
                        <a:rPr lang="pt-BR" sz="2200" b="1" i="0" u="none" strike="noStrike" cap="none" baseline="0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ea typeface="+mn-ea"/>
                          <a:cs typeface="Poppins" pitchFamily="50" charset="0"/>
                          <a:sym typeface="Arial"/>
                        </a:rPr>
                        <a:t>e-book sobre contabilidade e tributação </a:t>
                      </a:r>
                      <a:r>
                        <a:rPr lang="pt-BR" sz="2200" b="0" i="0" u="none" strike="noStrike" cap="none" baseline="0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ea typeface="+mn-ea"/>
                          <a:cs typeface="Poppins" pitchFamily="50" charset="0"/>
                          <a:sym typeface="Arial"/>
                        </a:rPr>
                        <a:t>de derivativos em parceria com a BBCE </a:t>
                      </a:r>
                    </a:p>
                    <a:p>
                      <a:pPr marR="0" algn="ctr" rtl="0" font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pt-BR" sz="2200" b="0" i="0" u="none" strike="noStrike" cap="none" baseline="0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ea typeface="+mn-ea"/>
                          <a:cs typeface="Poppins" pitchFamily="50" charset="0"/>
                          <a:sym typeface="Arial"/>
                        </a:rPr>
                        <a:t>Abraceel, BBCE e CCEE divulgarão novo e-book sobre monitoramento e supervisão em dezembro</a:t>
                      </a:r>
                    </a:p>
                    <a:p>
                      <a:pPr marR="0" algn="ctr" rtl="0" font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pt-BR" sz="2200" b="0" i="0" u="none" strike="noStrike" cap="none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ea typeface="+mn-ea"/>
                          <a:cs typeface="Poppins" pitchFamily="50" charset="0"/>
                          <a:sym typeface="Arial"/>
                        </a:rPr>
                        <a:t>Reuniões</a:t>
                      </a:r>
                      <a:r>
                        <a:rPr lang="pt-BR" sz="2200" b="0" i="0" u="none" strike="noStrike" cap="none" baseline="0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ea typeface="+mn-ea"/>
                          <a:cs typeface="Poppins" pitchFamily="50" charset="0"/>
                          <a:sym typeface="Arial"/>
                        </a:rPr>
                        <a:t> com B3, BBCE e associações do setor</a:t>
                      </a:r>
                      <a:endParaRPr lang="pt-BR" sz="2200" b="0" i="0" u="none" strike="noStrike" cap="none">
                        <a:solidFill>
                          <a:schemeClr val="bg2"/>
                        </a:solidFill>
                        <a:effectLst/>
                        <a:latin typeface="Poppins" pitchFamily="50" charset="0"/>
                        <a:ea typeface="+mn-ea"/>
                        <a:cs typeface="Poppins" pitchFamily="50" charset="0"/>
                        <a:sym typeface="Arial"/>
                      </a:endParaRPr>
                    </a:p>
                  </a:txBody>
                  <a:tcPr marL="14650" marR="14650" marT="146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30905249"/>
                  </a:ext>
                </a:extLst>
              </a:tr>
              <a:tr h="4165276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2200" b="0" i="0" u="none" strike="noStrike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Monitorar e atuar no mercado </a:t>
                      </a:r>
                    </a:p>
                    <a:p>
                      <a:pPr algn="ctr" rtl="0" fontAlgn="ctr"/>
                      <a:r>
                        <a:rPr lang="pt-BR" sz="2200" b="0" i="0" u="none" strike="noStrike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de gás natural, incluindo a </a:t>
                      </a:r>
                    </a:p>
                    <a:p>
                      <a:pPr algn="ctr" rtl="0" fontAlgn="ctr"/>
                      <a:r>
                        <a:rPr lang="pt-BR" sz="2200" b="0" i="0" u="none" strike="noStrike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regulamentação nos Estados</a:t>
                      </a:r>
                    </a:p>
                  </a:txBody>
                  <a:tcPr marL="14650" marR="14650" marT="146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pt-BR" sz="1100" b="0" i="0" u="none" strike="noStrike" cap="none">
                        <a:solidFill>
                          <a:schemeClr val="bg2"/>
                        </a:solidFill>
                        <a:effectLst/>
                        <a:latin typeface="Poppins" pitchFamily="50" charset="0"/>
                        <a:ea typeface="+mn-ea"/>
                        <a:cs typeface="Poppins" pitchFamily="50" charset="0"/>
                        <a:sym typeface="Arial"/>
                      </a:endParaRPr>
                    </a:p>
                  </a:txBody>
                  <a:tcPr marL="7325" marR="7325" marT="73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pt-BR" sz="2200" b="0" i="0" u="none" strike="noStrike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Publicação</a:t>
                      </a:r>
                      <a:r>
                        <a:rPr lang="pt-BR" sz="2200" b="0" i="0" u="none" strike="noStrike" baseline="0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 da </a:t>
                      </a:r>
                      <a:r>
                        <a:rPr lang="pt-BR" sz="2200" b="1" i="0" u="none" strike="noStrike" baseline="0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nova Lei e Decreto do gás </a:t>
                      </a:r>
                      <a:r>
                        <a:rPr lang="pt-BR" sz="2200" b="0" i="0" u="none" strike="noStrike" baseline="0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com inclusão de pontos defendidos pelo mercado, sem jabuti</a:t>
                      </a:r>
                    </a:p>
                    <a:p>
                      <a:pPr algn="ctr" rtl="0" font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pt-BR" sz="2200" b="0" i="0" u="none" strike="noStrike" baseline="0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Abertura do mercado de gás em </a:t>
                      </a:r>
                      <a:r>
                        <a:rPr lang="pt-BR" sz="2200" b="1" i="0" u="none" strike="noStrike" baseline="0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Minas Gerais, Bahia, Amazonas, Espírito Santo e Rio Grande do Sul</a:t>
                      </a:r>
                      <a:r>
                        <a:rPr lang="pt-BR" sz="2200" b="0" i="0" u="none" strike="noStrike" baseline="0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; Discussões importantes em São Paulo, Rio de Janeiro, Santa Catarina e Sergipe. </a:t>
                      </a:r>
                    </a:p>
                    <a:p>
                      <a:pPr algn="ctr" rtl="0" font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pt-BR" sz="2200" b="0" i="0" u="none" strike="noStrike" baseline="0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Abraceel eleita coordenadora-geral adjunta do Fórum do Gás – assume a coordenação em 2022</a:t>
                      </a:r>
                      <a:endParaRPr lang="pt-BR" sz="2200" b="0" i="0" u="none" strike="noStrike">
                        <a:solidFill>
                          <a:schemeClr val="bg2"/>
                        </a:solidFill>
                        <a:effectLst/>
                        <a:latin typeface="Poppins" pitchFamily="50" charset="0"/>
                        <a:cs typeface="Poppins" pitchFamily="50" charset="0"/>
                      </a:endParaRPr>
                    </a:p>
                  </a:txBody>
                  <a:tcPr marL="14650" marR="14650" marT="146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429871728"/>
                  </a:ext>
                </a:extLst>
              </a:tr>
              <a:tr h="3159420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2200" b="0" i="0" u="none" strike="noStrike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Atuar, sob demanda, em outros </a:t>
                      </a:r>
                    </a:p>
                    <a:p>
                      <a:pPr algn="ctr" rtl="0" fontAlgn="ctr"/>
                      <a:r>
                        <a:rPr lang="pt-BR" sz="2200" b="0" i="0" u="none" strike="noStrike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mercados de energia, tais como </a:t>
                      </a:r>
                    </a:p>
                    <a:p>
                      <a:pPr algn="ctr" rtl="0" fontAlgn="ctr"/>
                      <a:r>
                        <a:rPr lang="pt-BR" sz="2200" b="0" i="0" u="none" strike="noStrike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etanol e CO2</a:t>
                      </a:r>
                    </a:p>
                  </a:txBody>
                  <a:tcPr marL="14650" marR="14650" marT="1465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0D8E8"/>
                    </a:solidFill>
                  </a:tcPr>
                </a:tc>
                <a:tc vMerge="1">
                  <a:txBody>
                    <a:bodyPr/>
                    <a:lstStyle/>
                    <a:p>
                      <a:pPr marR="0" algn="ctr" rtl="0" font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rgbClr val="000000"/>
                        </a:buClr>
                        <a:buFont typeface="Arial"/>
                      </a:pPr>
                      <a:endParaRPr lang="pt-BR" sz="1100" b="0" i="0" u="none" strike="noStrike" cap="none">
                        <a:solidFill>
                          <a:schemeClr val="bg2"/>
                        </a:solidFill>
                        <a:effectLst/>
                        <a:latin typeface="Poppins" pitchFamily="50" charset="0"/>
                        <a:ea typeface="+mn-ea"/>
                        <a:cs typeface="Poppins" pitchFamily="50" charset="0"/>
                        <a:sym typeface="Arial"/>
                      </a:endParaRPr>
                    </a:p>
                  </a:txBody>
                  <a:tcPr marL="7325" marR="7325" marT="73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pt-BR" sz="2200" b="0" i="0" u="none" strike="noStrike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Após forte atuação da </a:t>
                      </a:r>
                      <a:r>
                        <a:rPr lang="pt-BR" sz="2200" b="0" i="0" u="none" strike="noStrike" err="1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Abraceel</a:t>
                      </a:r>
                      <a:r>
                        <a:rPr lang="pt-BR" sz="2200" b="0" i="0" u="none" strike="noStrike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, </a:t>
                      </a:r>
                      <a:r>
                        <a:rPr lang="pt-BR" sz="2200" b="1" i="0" u="none" strike="noStrike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ANP se mostra mais </a:t>
                      </a:r>
                      <a:r>
                        <a:rPr lang="pt-BR" sz="2200" b="1" i="0" u="none" strike="noStrike">
                          <a:solidFill>
                            <a:schemeClr val="tx1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receptiva e deve abrir</a:t>
                      </a:r>
                      <a:r>
                        <a:rPr lang="pt-BR" sz="2200" b="1" i="0" u="none" strike="noStrike" baseline="0">
                          <a:solidFill>
                            <a:schemeClr val="tx1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 </a:t>
                      </a:r>
                      <a:r>
                        <a:rPr lang="pt-BR" sz="2200" b="1" i="0" u="none" strike="noStrike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consulta pública específica </a:t>
                      </a:r>
                      <a:r>
                        <a:rPr lang="pt-BR" sz="2200" b="0" i="0" u="none" strike="noStrike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sobre a regulamentação da figura do comercializador independente de etanol</a:t>
                      </a:r>
                    </a:p>
                    <a:p>
                      <a:pPr algn="ctr" rtl="0" font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pt-BR" sz="2200" b="0" i="0" u="none" strike="noStrike" err="1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Abraceel</a:t>
                      </a:r>
                      <a:r>
                        <a:rPr lang="pt-BR" sz="2200" b="0" i="0" u="none" strike="noStrike" baseline="0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 envia contribuição para implementação de mercado de carbono</a:t>
                      </a:r>
                      <a:endParaRPr lang="pt-BR" sz="2200" b="0" i="0" u="none" strike="noStrike">
                        <a:solidFill>
                          <a:schemeClr val="bg2"/>
                        </a:solidFill>
                        <a:effectLst/>
                        <a:latin typeface="Poppins" pitchFamily="50" charset="0"/>
                        <a:cs typeface="Poppins" pitchFamily="50" charset="0"/>
                      </a:endParaRPr>
                    </a:p>
                    <a:p>
                      <a:pPr algn="ctr" rtl="0" font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pt-BR" sz="2200" b="0" i="0" u="none" strike="noStrike">
                        <a:solidFill>
                          <a:schemeClr val="bg2"/>
                        </a:solidFill>
                        <a:effectLst/>
                        <a:latin typeface="Poppins" pitchFamily="50" charset="0"/>
                        <a:cs typeface="Poppins" pitchFamily="50" charset="0"/>
                      </a:endParaRPr>
                    </a:p>
                  </a:txBody>
                  <a:tcPr marL="14650" marR="14650" marT="146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0D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9343599"/>
                  </a:ext>
                </a:extLst>
              </a:tr>
            </a:tbl>
          </a:graphicData>
        </a:graphic>
      </p:graphicFrame>
      <p:pic>
        <p:nvPicPr>
          <p:cNvPr id="4" name="Picture 2" descr="Semáforo - Download Vetores Gratis, Desenhos de Vetor, Modelos e Clipart">
            <a:extLst>
              <a:ext uri="{FF2B5EF4-FFF2-40B4-BE49-F238E27FC236}">
                <a16:creationId xmlns:a16="http://schemas.microsoft.com/office/drawing/2014/main" xmlns="" id="{65B00869-EBB8-41D4-8EAB-6E3828582A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93835" y="84522"/>
            <a:ext cx="1270114" cy="11967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CaixaDeTexto 4">
            <a:extLst>
              <a:ext uri="{FF2B5EF4-FFF2-40B4-BE49-F238E27FC236}">
                <a16:creationId xmlns:a16="http://schemas.microsoft.com/office/drawing/2014/main" xmlns="" id="{E36FB14B-F29F-4F90-A310-4E7F59932E09}"/>
              </a:ext>
            </a:extLst>
          </p:cNvPr>
          <p:cNvSpPr txBox="1"/>
          <p:nvPr/>
        </p:nvSpPr>
        <p:spPr>
          <a:xfrm flipH="1">
            <a:off x="19448981" y="61972"/>
            <a:ext cx="282448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hangingPunct="1">
              <a:buClr>
                <a:srgbClr val="000000"/>
              </a:buClr>
            </a:pPr>
            <a:r>
              <a:rPr lang="pt-BR" sz="2400">
                <a:latin typeface="Poppins" pitchFamily="50" charset="0"/>
                <a:cs typeface="Poppins" pitchFamily="50" charset="0"/>
                <a:sym typeface="Arial"/>
              </a:rPr>
              <a:t>Atrasada</a:t>
            </a:r>
          </a:p>
          <a:p>
            <a:pPr hangingPunct="1">
              <a:buClr>
                <a:srgbClr val="000000"/>
              </a:buClr>
            </a:pPr>
            <a:r>
              <a:rPr lang="pt-BR" sz="2400">
                <a:latin typeface="Poppins" pitchFamily="50" charset="0"/>
                <a:cs typeface="Poppins" pitchFamily="50" charset="0"/>
                <a:sym typeface="Arial"/>
              </a:rPr>
              <a:t>Atenção</a:t>
            </a:r>
          </a:p>
          <a:p>
            <a:pPr hangingPunct="1">
              <a:buClr>
                <a:srgbClr val="000000"/>
              </a:buClr>
            </a:pPr>
            <a:r>
              <a:rPr lang="pt-BR" sz="2400">
                <a:latin typeface="Poppins" pitchFamily="50" charset="0"/>
                <a:cs typeface="Poppins" pitchFamily="50" charset="0"/>
                <a:sym typeface="Arial"/>
              </a:rPr>
              <a:t>Avançada</a:t>
            </a:r>
          </a:p>
        </p:txBody>
      </p:sp>
      <p:sp>
        <p:nvSpPr>
          <p:cNvPr id="6" name="Fluxograma: Conector 5">
            <a:extLst>
              <a:ext uri="{FF2B5EF4-FFF2-40B4-BE49-F238E27FC236}">
                <a16:creationId xmlns:a16="http://schemas.microsoft.com/office/drawing/2014/main" xmlns="" id="{E282F460-6F69-41CE-B0E5-34AA39E03CA3}"/>
              </a:ext>
            </a:extLst>
          </p:cNvPr>
          <p:cNvSpPr/>
          <p:nvPr/>
        </p:nvSpPr>
        <p:spPr>
          <a:xfrm>
            <a:off x="8680861" y="8756864"/>
            <a:ext cx="490402" cy="447040"/>
          </a:xfrm>
          <a:prstGeom prst="flowChartConnector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hangingPunct="1">
              <a:buClr>
                <a:srgbClr val="000000"/>
              </a:buClr>
            </a:pPr>
            <a:endParaRPr lang="pt-BR" sz="2800">
              <a:solidFill>
                <a:srgbClr val="FFFFFF"/>
              </a:solidFill>
              <a:latin typeface="Arial"/>
              <a:sym typeface="Arial"/>
            </a:endParaRPr>
          </a:p>
        </p:txBody>
      </p:sp>
      <p:sp>
        <p:nvSpPr>
          <p:cNvPr id="9" name="CaixaDeTexto 8"/>
          <p:cNvSpPr txBox="1"/>
          <p:nvPr/>
        </p:nvSpPr>
        <p:spPr>
          <a:xfrm>
            <a:off x="22673568" y="1"/>
            <a:ext cx="17104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hangingPunct="1">
              <a:buClr>
                <a:srgbClr val="000000"/>
              </a:buClr>
            </a:pPr>
            <a:r>
              <a:rPr lang="pt-BR" sz="1600">
                <a:latin typeface="Poppins"/>
                <a:cs typeface="Arial"/>
                <a:sym typeface="Arial"/>
              </a:rPr>
              <a:t>05/10/2021</a:t>
            </a:r>
          </a:p>
        </p:txBody>
      </p:sp>
      <p:sp>
        <p:nvSpPr>
          <p:cNvPr id="11" name="Google Shape;40;p8"/>
          <p:cNvSpPr txBox="1"/>
          <p:nvPr/>
        </p:nvSpPr>
        <p:spPr>
          <a:xfrm>
            <a:off x="5143501" y="304802"/>
            <a:ext cx="14096998" cy="10156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6" tIns="45700" rIns="91426" bIns="45700" anchor="t" anchorCtr="0">
            <a:spAutoFit/>
          </a:bodyPr>
          <a:lstStyle/>
          <a:p>
            <a:pPr algn="ctr" defTabSz="914400" hangingPunct="1">
              <a:buClr>
                <a:srgbClr val="000000"/>
              </a:buClr>
              <a:defRPr/>
            </a:pPr>
            <a:r>
              <a:rPr lang="en-US" sz="6000" b="1" err="1">
                <a:latin typeface="Poppins"/>
                <a:ea typeface="Poppins"/>
                <a:cs typeface="Poppins"/>
                <a:sym typeface="Poppins"/>
              </a:rPr>
              <a:t>Acompanhamento</a:t>
            </a:r>
            <a:r>
              <a:rPr lang="en-US" sz="6000" b="1">
                <a:latin typeface="Poppins"/>
                <a:ea typeface="Poppins"/>
                <a:cs typeface="Poppins"/>
                <a:sym typeface="Poppins"/>
              </a:rPr>
              <a:t> de Metas</a:t>
            </a:r>
            <a:endParaRPr lang="en-US" sz="1400">
              <a:latin typeface="Arial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5520081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Kids may need more help finding answers to their questions in the  information age">
            <a:extLst>
              <a:ext uri="{FF2B5EF4-FFF2-40B4-BE49-F238E27FC236}">
                <a16:creationId xmlns:a16="http://schemas.microsoft.com/office/drawing/2014/main" xmlns="" id="{BF74C473-C00C-4C2A-8DE5-6569FCD1238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130" b="4884"/>
          <a:stretch/>
        </p:blipFill>
        <p:spPr bwMode="auto">
          <a:xfrm>
            <a:off x="20" y="2564"/>
            <a:ext cx="24383980" cy="137134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CaixaDeTexto 5">
            <a:extLst>
              <a:ext uri="{FF2B5EF4-FFF2-40B4-BE49-F238E27FC236}">
                <a16:creationId xmlns:a16="http://schemas.microsoft.com/office/drawing/2014/main" xmlns="" id="{963C3713-438B-451F-A500-B13904883243}"/>
              </a:ext>
            </a:extLst>
          </p:cNvPr>
          <p:cNvSpPr txBox="1"/>
          <p:nvPr/>
        </p:nvSpPr>
        <p:spPr>
          <a:xfrm>
            <a:off x="1745672" y="11264410"/>
            <a:ext cx="11536958" cy="2077518"/>
          </a:xfrm>
          <a:prstGeom prst="rect">
            <a:avLst/>
          </a:prstGeom>
          <a:noFill/>
          <a:ln w="47625">
            <a:solidFill>
              <a:schemeClr val="tx1"/>
            </a:solidFill>
          </a:ln>
        </p:spPr>
        <p:txBody>
          <a:bodyPr wrap="square" rtlCol="0" anchor="ctr" anchorCtr="0">
            <a:noAutofit/>
          </a:bodyPr>
          <a:lstStyle/>
          <a:p>
            <a:pPr algn="ctr"/>
            <a:endParaRPr lang="pt-BR">
              <a:solidFill>
                <a:schemeClr val="bg1"/>
              </a:solidFill>
            </a:endParaRP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xmlns="" id="{38C55BFA-D1CB-4AE8-A357-8F91F7A6799D}"/>
              </a:ext>
            </a:extLst>
          </p:cNvPr>
          <p:cNvSpPr txBox="1"/>
          <p:nvPr/>
        </p:nvSpPr>
        <p:spPr>
          <a:xfrm>
            <a:off x="1974272" y="11488210"/>
            <a:ext cx="11076709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480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SERÁ QUE DEVEMOS MUDAR AS BANDEIRAS DA ABRACEEL?</a:t>
            </a:r>
          </a:p>
        </p:txBody>
      </p:sp>
    </p:spTree>
    <p:extLst>
      <p:ext uri="{BB962C8B-B14F-4D97-AF65-F5344CB8AC3E}">
        <p14:creationId xmlns:p14="http://schemas.microsoft.com/office/powerpoint/2010/main" val="1350377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2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lipse 1">
            <a:extLst>
              <a:ext uri="{FF2B5EF4-FFF2-40B4-BE49-F238E27FC236}">
                <a16:creationId xmlns:a16="http://schemas.microsoft.com/office/drawing/2014/main" xmlns="" id="{20C2A390-AE1C-42AF-B9E9-B711E742F922}"/>
              </a:ext>
            </a:extLst>
          </p:cNvPr>
          <p:cNvSpPr/>
          <p:nvPr/>
        </p:nvSpPr>
        <p:spPr>
          <a:xfrm>
            <a:off x="17845049" y="1987473"/>
            <a:ext cx="2310502" cy="2310502"/>
          </a:xfrm>
          <a:prstGeom prst="ellipse">
            <a:avLst/>
          </a:prstGeom>
          <a:solidFill>
            <a:schemeClr val="bg1">
              <a:lumMod val="95000"/>
              <a:alpha val="60000"/>
            </a:schemeClr>
          </a:solidFill>
          <a:ln>
            <a:solidFill>
              <a:srgbClr val="F44F1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xmlns="" id="{839C584B-D91C-4C90-A07B-6E27AB80368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4" name="Slide do think-cell" r:id="rId4" imgW="425" imgH="426" progId="TCLayout.ActiveDocument.1">
                  <p:embed/>
                </p:oleObj>
              </mc:Choice>
              <mc:Fallback>
                <p:oleObj name="Slide do think-cell" r:id="rId4" imgW="425" imgH="426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xmlns="" id="{839C584B-D91C-4C90-A07B-6E27AB8036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Imagem 12">
            <a:extLst>
              <a:ext uri="{FF2B5EF4-FFF2-40B4-BE49-F238E27FC236}">
                <a16:creationId xmlns:a16="http://schemas.microsoft.com/office/drawing/2014/main" xmlns="" id="{CDA73021-DEB7-4EC6-B7B1-0AED49B2ADA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1145871">
            <a:off x="20449297" y="10375"/>
            <a:ext cx="4191450" cy="2500696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xmlns="" id="{0BDC5462-7753-4F67-852C-AE5BA36FAD22}"/>
              </a:ext>
            </a:extLst>
          </p:cNvPr>
          <p:cNvSpPr txBox="1"/>
          <p:nvPr/>
        </p:nvSpPr>
        <p:spPr>
          <a:xfrm>
            <a:off x="5288256" y="4801712"/>
            <a:ext cx="7164186" cy="738662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b="1"/>
              <a:t>Expansão do Mercado Livre</a:t>
            </a: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xmlns="" id="{48F17A53-925D-49CE-B13D-086C7FE8AE63}"/>
              </a:ext>
            </a:extLst>
          </p:cNvPr>
          <p:cNvSpPr txBox="1"/>
          <p:nvPr/>
        </p:nvSpPr>
        <p:spPr>
          <a:xfrm>
            <a:off x="5288256" y="5854230"/>
            <a:ext cx="7164186" cy="738662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b="1"/>
              <a:t>Mecanismos de Formação de Preços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xmlns="" id="{085D1DE8-6046-4E65-BC57-093DF6657312}"/>
              </a:ext>
            </a:extLst>
          </p:cNvPr>
          <p:cNvSpPr txBox="1"/>
          <p:nvPr/>
        </p:nvSpPr>
        <p:spPr>
          <a:xfrm>
            <a:off x="5288256" y="7959266"/>
            <a:ext cx="8591877" cy="738662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b="1"/>
              <a:t>Atuação em Outros Mercados de Energia</a:t>
            </a: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xmlns="" id="{D2944D90-D5FE-4499-BA14-B982DC0B7707}"/>
              </a:ext>
            </a:extLst>
          </p:cNvPr>
          <p:cNvSpPr txBox="1"/>
          <p:nvPr/>
        </p:nvSpPr>
        <p:spPr>
          <a:xfrm>
            <a:off x="5288256" y="6906748"/>
            <a:ext cx="7164186" cy="738662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b="1"/>
              <a:t>Segurança de Mercado</a:t>
            </a:r>
          </a:p>
        </p:txBody>
      </p:sp>
      <p:pic>
        <p:nvPicPr>
          <p:cNvPr id="7" name="Imagem 6" descr="Desenho de personagem de desenho animado&#10;&#10;Descrição gerada automaticamente">
            <a:extLst>
              <a:ext uri="{FF2B5EF4-FFF2-40B4-BE49-F238E27FC236}">
                <a16:creationId xmlns:a16="http://schemas.microsoft.com/office/drawing/2014/main" xmlns="" id="{BF04B3A0-9097-4480-8130-A0E3A70DE39E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892" y="5816885"/>
            <a:ext cx="2705100" cy="5803522"/>
          </a:xfrm>
          <a:prstGeom prst="rect">
            <a:avLst/>
          </a:prstGeom>
        </p:spPr>
      </p:pic>
      <p:grpSp>
        <p:nvGrpSpPr>
          <p:cNvPr id="28" name="Agrupar 27">
            <a:extLst>
              <a:ext uri="{FF2B5EF4-FFF2-40B4-BE49-F238E27FC236}">
                <a16:creationId xmlns:a16="http://schemas.microsoft.com/office/drawing/2014/main" xmlns="" id="{B034CE49-753F-4D57-8B7E-09BEAFA0B91B}"/>
              </a:ext>
            </a:extLst>
          </p:cNvPr>
          <p:cNvGrpSpPr/>
          <p:nvPr/>
        </p:nvGrpSpPr>
        <p:grpSpPr>
          <a:xfrm>
            <a:off x="694892" y="2620108"/>
            <a:ext cx="10220788" cy="1880550"/>
            <a:chOff x="694892" y="2620108"/>
            <a:chExt cx="10220788" cy="1880550"/>
          </a:xfrm>
        </p:grpSpPr>
        <p:sp>
          <p:nvSpPr>
            <p:cNvPr id="17" name="Seta: Divisa 16">
              <a:extLst>
                <a:ext uri="{FF2B5EF4-FFF2-40B4-BE49-F238E27FC236}">
                  <a16:creationId xmlns:a16="http://schemas.microsoft.com/office/drawing/2014/main" xmlns="" id="{097373F6-638F-40BB-BE41-CA42BB7DE92C}"/>
                </a:ext>
              </a:extLst>
            </p:cNvPr>
            <p:cNvSpPr/>
            <p:nvPr/>
          </p:nvSpPr>
          <p:spPr>
            <a:xfrm rot="5400000">
              <a:off x="5405236" y="-1009786"/>
              <a:ext cx="895350" cy="10125538"/>
            </a:xfrm>
            <a:prstGeom prst="chevron">
              <a:avLst/>
            </a:prstGeom>
            <a:solidFill>
              <a:schemeClr val="bg1">
                <a:lumMod val="75000"/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solidFill>
                  <a:schemeClr val="tx1"/>
                </a:solidFill>
              </a:endParaRPr>
            </a:p>
          </p:txBody>
        </p:sp>
        <p:sp>
          <p:nvSpPr>
            <p:cNvPr id="5" name="Seta: Divisa 4">
              <a:extLst>
                <a:ext uri="{FF2B5EF4-FFF2-40B4-BE49-F238E27FC236}">
                  <a16:creationId xmlns:a16="http://schemas.microsoft.com/office/drawing/2014/main" xmlns="" id="{C5B2AE1A-1AD8-4A34-A45B-A3842CA68914}"/>
                </a:ext>
              </a:extLst>
            </p:cNvPr>
            <p:cNvSpPr/>
            <p:nvPr/>
          </p:nvSpPr>
          <p:spPr>
            <a:xfrm rot="5400000">
              <a:off x="5309986" y="-1106337"/>
              <a:ext cx="895350" cy="10125538"/>
            </a:xfrm>
            <a:prstGeom prst="chevron">
              <a:avLst/>
            </a:prstGeom>
            <a:solidFill>
              <a:schemeClr val="bg1">
                <a:lumMod val="95000"/>
                <a:alpha val="60000"/>
              </a:schemeClr>
            </a:solidFill>
            <a:ln>
              <a:solidFill>
                <a:srgbClr val="F44F1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solidFill>
                  <a:schemeClr val="tx1"/>
                </a:solidFill>
              </a:endParaRPr>
            </a:p>
          </p:txBody>
        </p:sp>
        <p:sp>
          <p:nvSpPr>
            <p:cNvPr id="16" name="CaixaDeTexto 15">
              <a:extLst>
                <a:ext uri="{FF2B5EF4-FFF2-40B4-BE49-F238E27FC236}">
                  <a16:creationId xmlns:a16="http://schemas.microsoft.com/office/drawing/2014/main" xmlns="" id="{41B46BD0-37B7-49FC-9755-6CF0325537B1}"/>
                </a:ext>
              </a:extLst>
            </p:cNvPr>
            <p:cNvSpPr txBox="1"/>
            <p:nvPr/>
          </p:nvSpPr>
          <p:spPr>
            <a:xfrm>
              <a:off x="694892" y="2620108"/>
              <a:ext cx="10125538" cy="1015661"/>
            </a:xfrm>
            <a:prstGeom prst="rect">
              <a:avLst/>
            </a:prstGeom>
            <a:noFill/>
            <a:ln w="254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91439" rIns="91439" bIns="91439" numCol="1" spcCol="38100" rtlCol="0" anchor="t">
              <a:spAutoFit/>
            </a:bodyPr>
            <a:lstStyle/>
            <a:p>
              <a:pPr marL="0" marR="0" indent="0" algn="ctr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pt-BR" sz="5400" b="1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TESTE DE SANIDADE</a:t>
              </a:r>
            </a:p>
          </p:txBody>
        </p:sp>
      </p:grpSp>
      <p:pic>
        <p:nvPicPr>
          <p:cNvPr id="18" name="Imagem 17">
            <a:extLst>
              <a:ext uri="{FF2B5EF4-FFF2-40B4-BE49-F238E27FC236}">
                <a16:creationId xmlns:a16="http://schemas.microsoft.com/office/drawing/2014/main" xmlns="" id="{DF8727A6-07F8-4BC4-B354-AA94219DFF05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32350" y="4631043"/>
            <a:ext cx="1080000" cy="1080000"/>
          </a:xfrm>
          <a:prstGeom prst="rect">
            <a:avLst/>
          </a:prstGeom>
        </p:spPr>
      </p:pic>
      <p:pic>
        <p:nvPicPr>
          <p:cNvPr id="19" name="Imagem 18">
            <a:extLst>
              <a:ext uri="{FF2B5EF4-FFF2-40B4-BE49-F238E27FC236}">
                <a16:creationId xmlns:a16="http://schemas.microsoft.com/office/drawing/2014/main" xmlns="" id="{E505D951-90D8-40DC-AB7A-7DB5B9C7E3F2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38872" y="6726223"/>
            <a:ext cx="1080000" cy="1080000"/>
          </a:xfrm>
          <a:prstGeom prst="rect">
            <a:avLst/>
          </a:prstGeom>
        </p:spPr>
      </p:pic>
      <p:pic>
        <p:nvPicPr>
          <p:cNvPr id="20" name="Imagem 19">
            <a:extLst>
              <a:ext uri="{FF2B5EF4-FFF2-40B4-BE49-F238E27FC236}">
                <a16:creationId xmlns:a16="http://schemas.microsoft.com/office/drawing/2014/main" xmlns="" id="{DB6621AC-E6B3-4C11-B8C8-A8CAEB340B32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35212" y="5679295"/>
            <a:ext cx="1080000" cy="1080000"/>
          </a:xfrm>
          <a:prstGeom prst="rect">
            <a:avLst/>
          </a:prstGeom>
        </p:spPr>
      </p:pic>
      <p:pic>
        <p:nvPicPr>
          <p:cNvPr id="21" name="Imagem 20">
            <a:extLst>
              <a:ext uri="{FF2B5EF4-FFF2-40B4-BE49-F238E27FC236}">
                <a16:creationId xmlns:a16="http://schemas.microsoft.com/office/drawing/2014/main" xmlns="" id="{095ED8EF-692D-4A3E-A7A8-9147CD7B5658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38872" y="7792863"/>
            <a:ext cx="1080000" cy="1080000"/>
          </a:xfrm>
          <a:prstGeom prst="rect">
            <a:avLst/>
          </a:prstGeom>
        </p:spPr>
      </p:pic>
      <p:sp>
        <p:nvSpPr>
          <p:cNvPr id="22" name="CaixaDeTexto 21">
            <a:extLst>
              <a:ext uri="{FF2B5EF4-FFF2-40B4-BE49-F238E27FC236}">
                <a16:creationId xmlns:a16="http://schemas.microsoft.com/office/drawing/2014/main" xmlns="" id="{E9934116-7A11-4875-B109-FAD7C72DF851}"/>
              </a:ext>
            </a:extLst>
          </p:cNvPr>
          <p:cNvSpPr txBox="1"/>
          <p:nvPr/>
        </p:nvSpPr>
        <p:spPr>
          <a:xfrm>
            <a:off x="5288255" y="9011784"/>
            <a:ext cx="7853407" cy="738662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b="1" err="1">
                <a:solidFill>
                  <a:schemeClr val="tx1">
                    <a:lumMod val="90000"/>
                    <a:lumOff val="10000"/>
                  </a:schemeClr>
                </a:solidFill>
              </a:rPr>
              <a:t>Customer</a:t>
            </a:r>
            <a:r>
              <a:rPr lang="pt-BR" b="1">
                <a:solidFill>
                  <a:schemeClr val="tx1">
                    <a:lumMod val="90000"/>
                    <a:lumOff val="10000"/>
                  </a:schemeClr>
                </a:solidFill>
              </a:rPr>
              <a:t> </a:t>
            </a:r>
            <a:r>
              <a:rPr lang="pt-BR" b="1" err="1">
                <a:solidFill>
                  <a:schemeClr val="tx1">
                    <a:lumMod val="90000"/>
                    <a:lumOff val="10000"/>
                  </a:schemeClr>
                </a:solidFill>
              </a:rPr>
              <a:t>Centricity</a:t>
            </a:r>
            <a:r>
              <a:rPr lang="pt-BR" b="1">
                <a:solidFill>
                  <a:schemeClr val="tx1">
                    <a:lumMod val="90000"/>
                    <a:lumOff val="10000"/>
                  </a:schemeClr>
                </a:solidFill>
              </a:rPr>
              <a:t> &amp; Novos Produtos</a:t>
            </a:r>
          </a:p>
        </p:txBody>
      </p:sp>
      <p:sp>
        <p:nvSpPr>
          <p:cNvPr id="23" name="CaixaDeTexto 22">
            <a:extLst>
              <a:ext uri="{FF2B5EF4-FFF2-40B4-BE49-F238E27FC236}">
                <a16:creationId xmlns:a16="http://schemas.microsoft.com/office/drawing/2014/main" xmlns="" id="{E9B56D67-ED47-45E2-885E-3FE1AF9E4AD4}"/>
              </a:ext>
            </a:extLst>
          </p:cNvPr>
          <p:cNvSpPr txBox="1"/>
          <p:nvPr/>
        </p:nvSpPr>
        <p:spPr>
          <a:xfrm>
            <a:off x="5288256" y="10064302"/>
            <a:ext cx="7164186" cy="738662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b="1">
                <a:solidFill>
                  <a:schemeClr val="tx1">
                    <a:lumMod val="90000"/>
                    <a:lumOff val="10000"/>
                  </a:schemeClr>
                </a:solidFill>
              </a:rPr>
              <a:t>Oportunidades em Períodos de Seca</a:t>
            </a:r>
          </a:p>
        </p:txBody>
      </p:sp>
      <p:sp>
        <p:nvSpPr>
          <p:cNvPr id="24" name="CaixaDeTexto 23">
            <a:extLst>
              <a:ext uri="{FF2B5EF4-FFF2-40B4-BE49-F238E27FC236}">
                <a16:creationId xmlns:a16="http://schemas.microsoft.com/office/drawing/2014/main" xmlns="" id="{25462481-85E9-4B2C-BC6E-F62387986C11}"/>
              </a:ext>
            </a:extLst>
          </p:cNvPr>
          <p:cNvSpPr txBox="1"/>
          <p:nvPr/>
        </p:nvSpPr>
        <p:spPr>
          <a:xfrm>
            <a:off x="5288256" y="12169337"/>
            <a:ext cx="8591877" cy="738662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b="1">
                <a:solidFill>
                  <a:schemeClr val="tx1">
                    <a:lumMod val="90000"/>
                    <a:lumOff val="10000"/>
                  </a:schemeClr>
                </a:solidFill>
              </a:rPr>
              <a:t>Inovação &amp; Tecnologia em Comercialização</a:t>
            </a:r>
          </a:p>
        </p:txBody>
      </p:sp>
      <p:sp>
        <p:nvSpPr>
          <p:cNvPr id="25" name="CaixaDeTexto 24">
            <a:extLst>
              <a:ext uri="{FF2B5EF4-FFF2-40B4-BE49-F238E27FC236}">
                <a16:creationId xmlns:a16="http://schemas.microsoft.com/office/drawing/2014/main" xmlns="" id="{9AE265DF-06BB-49AD-AE68-4FE2434B8172}"/>
              </a:ext>
            </a:extLst>
          </p:cNvPr>
          <p:cNvSpPr txBox="1"/>
          <p:nvPr/>
        </p:nvSpPr>
        <p:spPr>
          <a:xfrm>
            <a:off x="5288256" y="11116820"/>
            <a:ext cx="7164186" cy="738662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b="1">
                <a:solidFill>
                  <a:schemeClr val="tx1">
                    <a:lumMod val="90000"/>
                    <a:lumOff val="10000"/>
                  </a:schemeClr>
                </a:solidFill>
              </a:rPr>
              <a:t>Mudanças Climáticas</a:t>
            </a:r>
          </a:p>
        </p:txBody>
      </p:sp>
      <p:pic>
        <p:nvPicPr>
          <p:cNvPr id="15" name="Imagem 14" descr="Desenho de um animal&#10;&#10;Descrição gerada automaticamente com confiança baixa">
            <a:extLst>
              <a:ext uri="{FF2B5EF4-FFF2-40B4-BE49-F238E27FC236}">
                <a16:creationId xmlns:a16="http://schemas.microsoft.com/office/drawing/2014/main" xmlns="" id="{42C1022C-62F0-46F1-B3DC-B7165BA69D42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48872" y="9773743"/>
            <a:ext cx="1260000" cy="1260000"/>
          </a:xfrm>
          <a:prstGeom prst="rect">
            <a:avLst/>
          </a:prstGeom>
        </p:spPr>
      </p:pic>
      <p:pic>
        <p:nvPicPr>
          <p:cNvPr id="27" name="Imagem 26" descr="Logotipo&#10;&#10;Descrição gerada automaticamente">
            <a:extLst>
              <a:ext uri="{FF2B5EF4-FFF2-40B4-BE49-F238E27FC236}">
                <a16:creationId xmlns:a16="http://schemas.microsoft.com/office/drawing/2014/main" xmlns="" id="{C6373952-8845-4945-9B32-EFDBCA9C9280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32350" y="10982283"/>
            <a:ext cx="1080000" cy="1080000"/>
          </a:xfrm>
          <a:prstGeom prst="rect">
            <a:avLst/>
          </a:prstGeom>
        </p:spPr>
      </p:pic>
      <p:pic>
        <p:nvPicPr>
          <p:cNvPr id="11" name="Imagem 10" descr="Ícone&#10;&#10;Descrição gerada automaticamente">
            <a:extLst>
              <a:ext uri="{FF2B5EF4-FFF2-40B4-BE49-F238E27FC236}">
                <a16:creationId xmlns:a16="http://schemas.microsoft.com/office/drawing/2014/main" xmlns="" id="{77EFF82D-497E-4834-9462-42F3684CF406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32349" y="12010821"/>
            <a:ext cx="1080000" cy="1080000"/>
          </a:xfrm>
          <a:prstGeom prst="rect">
            <a:avLst/>
          </a:prstGeom>
        </p:spPr>
      </p:pic>
      <p:pic>
        <p:nvPicPr>
          <p:cNvPr id="30" name="Imagem 29" descr="Uma imagem contendo Ícone&#10;&#10;Descrição gerada automaticamente">
            <a:extLst>
              <a:ext uri="{FF2B5EF4-FFF2-40B4-BE49-F238E27FC236}">
                <a16:creationId xmlns:a16="http://schemas.microsoft.com/office/drawing/2014/main" xmlns="" id="{6E14BF45-44F4-4AC0-8476-726633AA9BFF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40299" y="2088693"/>
            <a:ext cx="2108062" cy="2108062"/>
          </a:xfrm>
          <a:prstGeom prst="rect">
            <a:avLst/>
          </a:prstGeom>
        </p:spPr>
      </p:pic>
      <p:pic>
        <p:nvPicPr>
          <p:cNvPr id="29" name="Imagem 28" descr="Ícone&#10;&#10;Descrição gerada automaticamente">
            <a:extLst>
              <a:ext uri="{FF2B5EF4-FFF2-40B4-BE49-F238E27FC236}">
                <a16:creationId xmlns:a16="http://schemas.microsoft.com/office/drawing/2014/main" xmlns="" id="{4F8D6BE8-4FCA-46E0-AFDD-D0C5E69914A8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5898" y="8821403"/>
            <a:ext cx="1080000" cy="1080000"/>
          </a:xfrm>
          <a:prstGeom prst="rect">
            <a:avLst/>
          </a:prstGeom>
        </p:spPr>
      </p:pic>
      <p:sp>
        <p:nvSpPr>
          <p:cNvPr id="38" name="Título 1">
            <a:extLst>
              <a:ext uri="{FF2B5EF4-FFF2-40B4-BE49-F238E27FC236}">
                <a16:creationId xmlns:a16="http://schemas.microsoft.com/office/drawing/2014/main" xmlns="" id="{C4013DBF-9197-4614-A8BB-252B1E81B864}"/>
              </a:ext>
            </a:extLst>
          </p:cNvPr>
          <p:cNvSpPr txBox="1">
            <a:spLocks/>
          </p:cNvSpPr>
          <p:nvPr/>
        </p:nvSpPr>
        <p:spPr>
          <a:xfrm>
            <a:off x="550492" y="372411"/>
            <a:ext cx="24384000" cy="1316792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4800" b="1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esquisa com Associados da ABRACEEL... </a:t>
            </a:r>
          </a:p>
        </p:txBody>
      </p:sp>
      <p:graphicFrame>
        <p:nvGraphicFramePr>
          <p:cNvPr id="32" name="Gráfico 31">
            <a:extLst>
              <a:ext uri="{FF2B5EF4-FFF2-40B4-BE49-F238E27FC236}">
                <a16:creationId xmlns:a16="http://schemas.microsoft.com/office/drawing/2014/main" xmlns="" id="{A37E8C45-848A-443A-A84C-E33E3FED63C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49550403"/>
              </p:ext>
            </p:extLst>
          </p:nvPr>
        </p:nvGraphicFramePr>
        <p:xfrm>
          <a:off x="15923019" y="4500659"/>
          <a:ext cx="7853408" cy="88429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pic>
        <p:nvPicPr>
          <p:cNvPr id="42" name="Imagem 41">
            <a:extLst>
              <a:ext uri="{FF2B5EF4-FFF2-40B4-BE49-F238E27FC236}">
                <a16:creationId xmlns:a16="http://schemas.microsoft.com/office/drawing/2014/main" xmlns="" id="{3240043E-1EA9-4749-BCD8-A1A61FF29A77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9110" y="4647258"/>
            <a:ext cx="1080000" cy="1080000"/>
          </a:xfrm>
          <a:prstGeom prst="rect">
            <a:avLst/>
          </a:prstGeom>
        </p:spPr>
      </p:pic>
      <p:pic>
        <p:nvPicPr>
          <p:cNvPr id="43" name="Imagem 42">
            <a:extLst>
              <a:ext uri="{FF2B5EF4-FFF2-40B4-BE49-F238E27FC236}">
                <a16:creationId xmlns:a16="http://schemas.microsoft.com/office/drawing/2014/main" xmlns="" id="{4EF3999D-E295-4030-8098-FBEB34A72A7F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35632" y="6742438"/>
            <a:ext cx="1080000" cy="1080000"/>
          </a:xfrm>
          <a:prstGeom prst="rect">
            <a:avLst/>
          </a:prstGeom>
        </p:spPr>
      </p:pic>
      <p:pic>
        <p:nvPicPr>
          <p:cNvPr id="44" name="Imagem 43">
            <a:extLst>
              <a:ext uri="{FF2B5EF4-FFF2-40B4-BE49-F238E27FC236}">
                <a16:creationId xmlns:a16="http://schemas.microsoft.com/office/drawing/2014/main" xmlns="" id="{D0846C5B-E411-406E-9989-0A46C070B8C7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31972" y="5695510"/>
            <a:ext cx="1080000" cy="1080000"/>
          </a:xfrm>
          <a:prstGeom prst="rect">
            <a:avLst/>
          </a:prstGeom>
        </p:spPr>
      </p:pic>
      <p:pic>
        <p:nvPicPr>
          <p:cNvPr id="45" name="Imagem 44">
            <a:extLst>
              <a:ext uri="{FF2B5EF4-FFF2-40B4-BE49-F238E27FC236}">
                <a16:creationId xmlns:a16="http://schemas.microsoft.com/office/drawing/2014/main" xmlns="" id="{693A09B9-D857-41ED-96FF-8F6787CACB8B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35632" y="7809078"/>
            <a:ext cx="1080000" cy="1080000"/>
          </a:xfrm>
          <a:prstGeom prst="rect">
            <a:avLst/>
          </a:prstGeom>
        </p:spPr>
      </p:pic>
      <p:pic>
        <p:nvPicPr>
          <p:cNvPr id="46" name="Imagem 45" descr="Desenho de um animal&#10;&#10;Descrição gerada automaticamente com confiança baixa">
            <a:extLst>
              <a:ext uri="{FF2B5EF4-FFF2-40B4-BE49-F238E27FC236}">
                <a16:creationId xmlns:a16="http://schemas.microsoft.com/office/drawing/2014/main" xmlns="" id="{EF9874C2-1DF2-4D0A-8636-982F05C5D9C8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45632" y="9789958"/>
            <a:ext cx="1260000" cy="1260000"/>
          </a:xfrm>
          <a:prstGeom prst="rect">
            <a:avLst/>
          </a:prstGeom>
        </p:spPr>
      </p:pic>
      <p:pic>
        <p:nvPicPr>
          <p:cNvPr id="47" name="Imagem 46" descr="Logotipo&#10;&#10;Descrição gerada automaticamente">
            <a:extLst>
              <a:ext uri="{FF2B5EF4-FFF2-40B4-BE49-F238E27FC236}">
                <a16:creationId xmlns:a16="http://schemas.microsoft.com/office/drawing/2014/main" xmlns="" id="{6B7DA5EB-B888-42A9-BF72-B3D794058314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9110" y="10998498"/>
            <a:ext cx="1080000" cy="1080000"/>
          </a:xfrm>
          <a:prstGeom prst="rect">
            <a:avLst/>
          </a:prstGeom>
        </p:spPr>
      </p:pic>
      <p:pic>
        <p:nvPicPr>
          <p:cNvPr id="48" name="Imagem 47" descr="Ícone&#10;&#10;Descrição gerada automaticamente">
            <a:extLst>
              <a:ext uri="{FF2B5EF4-FFF2-40B4-BE49-F238E27FC236}">
                <a16:creationId xmlns:a16="http://schemas.microsoft.com/office/drawing/2014/main" xmlns="" id="{2C918401-1AD6-41CE-BAF4-B64ED9DDB360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9109" y="12027036"/>
            <a:ext cx="1080000" cy="1080000"/>
          </a:xfrm>
          <a:prstGeom prst="rect">
            <a:avLst/>
          </a:prstGeom>
        </p:spPr>
      </p:pic>
      <p:pic>
        <p:nvPicPr>
          <p:cNvPr id="49" name="Imagem 48" descr="Ícone&#10;&#10;Descrição gerada automaticamente">
            <a:extLst>
              <a:ext uri="{FF2B5EF4-FFF2-40B4-BE49-F238E27FC236}">
                <a16:creationId xmlns:a16="http://schemas.microsoft.com/office/drawing/2014/main" xmlns="" id="{AEB77A9E-F0E1-4D0E-BFCA-CB5947A97D39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2658" y="8837618"/>
            <a:ext cx="1080000" cy="1080000"/>
          </a:xfrm>
          <a:prstGeom prst="rect">
            <a:avLst/>
          </a:prstGeom>
        </p:spPr>
      </p:pic>
      <p:cxnSp>
        <p:nvCxnSpPr>
          <p:cNvPr id="6" name="Conector reto 5">
            <a:extLst>
              <a:ext uri="{FF2B5EF4-FFF2-40B4-BE49-F238E27FC236}">
                <a16:creationId xmlns:a16="http://schemas.microsoft.com/office/drawing/2014/main" xmlns="" id="{387A4D54-B210-48FE-80CB-D300A5E3F209}"/>
              </a:ext>
            </a:extLst>
          </p:cNvPr>
          <p:cNvCxnSpPr>
            <a:cxnSpLocks/>
          </p:cNvCxnSpPr>
          <p:nvPr/>
        </p:nvCxnSpPr>
        <p:spPr>
          <a:xfrm flipH="1">
            <a:off x="14650277" y="4296145"/>
            <a:ext cx="0" cy="8894066"/>
          </a:xfrm>
          <a:prstGeom prst="line">
            <a:avLst/>
          </a:prstGeom>
          <a:ln w="34925">
            <a:prstDash val="dash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14" name="Imagem 13">
            <a:extLst>
              <a:ext uri="{FF2B5EF4-FFF2-40B4-BE49-F238E27FC236}">
                <a16:creationId xmlns:a16="http://schemas.microsoft.com/office/drawing/2014/main" xmlns="" id="{1EF15834-5926-4311-B318-A54E8DE28F38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15118246" y="4698237"/>
            <a:ext cx="926101" cy="82097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0690450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5" presetClass="entr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700"/>
                                        <p:tgtEl>
                                          <p:spTgt spid="32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8" fill="hold" grpId="0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graphicEl>
                                              <a:chart seriesIdx="0" categoryIdx="0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800"/>
                                        <p:tgtEl>
                                          <p:spTgt spid="32">
                                            <p:graphicEl>
                                              <a:chart seriesIdx="0" categoryIdx="0" bldStep="ptIn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8" fill="hold" grpId="0" nodeType="withEffect">
                                  <p:stCondLst>
                                    <p:cond delay="17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graphicEl>
                                              <a:chart seriesIdx="0" categoryIdx="1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800"/>
                                        <p:tgtEl>
                                          <p:spTgt spid="32">
                                            <p:graphicEl>
                                              <a:chart seriesIdx="0" categoryIdx="1" bldStep="ptIn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8" fill="hold" grpId="0" nodeType="withEffect">
                                  <p:stCondLst>
                                    <p:cond delay="21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graphicEl>
                                              <a:chart seriesIdx="0" categoryIdx="2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900"/>
                                        <p:tgtEl>
                                          <p:spTgt spid="32">
                                            <p:graphicEl>
                                              <a:chart seriesIdx="0" categoryIdx="2" bldStep="ptIn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8" fill="hold" grpId="0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graphicEl>
                                              <a:chart seriesIdx="0" categoryIdx="3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900"/>
                                        <p:tgtEl>
                                          <p:spTgt spid="32">
                                            <p:graphicEl>
                                              <a:chart seriesIdx="0" categoryIdx="3" bldStep="ptIn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8" fill="hold" grpId="0" nodeType="withEffect">
                                  <p:stCondLst>
                                    <p:cond delay="29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graphicEl>
                                              <a:chart seriesIdx="0" categoryIdx="4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800"/>
                                        <p:tgtEl>
                                          <p:spTgt spid="32">
                                            <p:graphicEl>
                                              <a:chart seriesIdx="0" categoryIdx="4" bldStep="ptIn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8" fill="hold" grpId="0" nodeType="withEffect">
                                  <p:stCondLst>
                                    <p:cond delay="33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graphicEl>
                                              <a:chart seriesIdx="0" categoryIdx="5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800"/>
                                        <p:tgtEl>
                                          <p:spTgt spid="32">
                                            <p:graphicEl>
                                              <a:chart seriesIdx="0" categoryIdx="5" bldStep="ptIn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22" presetClass="entr" presetSubtype="8" fill="hold" grpId="0" nodeType="withEffect">
                                  <p:stCondLst>
                                    <p:cond delay="38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graphicEl>
                                              <a:chart seriesIdx="0" categoryIdx="6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800"/>
                                        <p:tgtEl>
                                          <p:spTgt spid="32">
                                            <p:graphicEl>
                                              <a:chart seriesIdx="0" categoryIdx="6" bldStep="ptIn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2" presetClass="entr" presetSubtype="8" fill="hold" grpId="0" nodeType="withEffect">
                                  <p:stCondLst>
                                    <p:cond delay="42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graphicEl>
                                              <a:chart seriesIdx="0" categoryIdx="7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800"/>
                                        <p:tgtEl>
                                          <p:spTgt spid="32">
                                            <p:graphicEl>
                                              <a:chart seriesIdx="0" categoryIdx="7" bldStep="ptIn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47917E-6 5E-6 L 0.44343 -0.00185 " pathEditMode="relative" rAng="0" ptsTypes="AA">
                                      <p:cBhvr>
                                        <p:cTn id="44" dur="2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2168" y="-9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89583E-6 -2.77778E-6 L 0.44317 -0.0787 " pathEditMode="relative" rAng="0" ptsTypes="AA">
                                      <p:cBhvr>
                                        <p:cTn id="48" dur="2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2155" y="-393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6875E-6 3.7037E-7 L 0.4433 0.0787 " pathEditMode="relative" rAng="0" ptsTypes="AA">
                                      <p:cBhvr>
                                        <p:cTn id="52" dur="2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2161" y="393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89583E-6 -5.55556E-7 L 0.4392 0.30336 " pathEditMode="relative" rAng="0" ptsTypes="AA">
                                      <p:cBhvr>
                                        <p:cTn id="56" dur="2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1960" y="1516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04167E-6 0.01736 L 0.44323 0.00463 " pathEditMode="relative" rAng="0" ptsTypes="AA">
                                      <p:cBhvr>
                                        <p:cTn id="60" dur="2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2161" y="-637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89583E-6 -2.22222E-6 L 0.44154 0.07871 " pathEditMode="relative" rAng="0" ptsTypes="AA">
                                      <p:cBhvr>
                                        <p:cTn id="64" dur="2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2077" y="393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47917E-6 -3.7037E-6 L 0.4418 -0.0787 " pathEditMode="relative" rAng="0" ptsTypes="AA">
                                      <p:cBhvr>
                                        <p:cTn id="68" dur="2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2090" y="-393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47917E-6 -3.7037E-6 L 0.4418 -0.30914 " pathEditMode="relative" rAng="0" ptsTypes="AA">
                                      <p:cBhvr>
                                        <p:cTn id="72" dur="2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2090" y="-1546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2" grpId="0" uiExpand="1">
        <p:bldSub>
          <a:bldChart bld="seriesEl"/>
        </p:bldSub>
      </p:bldGraphic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FBA1A92B-1C58-40F9-93D9-236F1B48D9F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48" name="Slide do think-cell" r:id="rId5" imgW="351" imgH="351" progId="TCLayout.ActiveDocument.1">
                  <p:embed/>
                </p:oleObj>
              </mc:Choice>
              <mc:Fallback>
                <p:oleObj name="Slide do think-cell" r:id="rId5" imgW="351" imgH="351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xmlns="" id="{FBA1A92B-1C58-40F9-93D9-236F1B48D9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7" name="CaixaDeTexto 66">
            <a:extLst>
              <a:ext uri="{FF2B5EF4-FFF2-40B4-BE49-F238E27FC236}">
                <a16:creationId xmlns:a16="http://schemas.microsoft.com/office/drawing/2014/main" xmlns="" id="{C017F989-5237-4D34-9FB2-D3E4C936F614}"/>
              </a:ext>
            </a:extLst>
          </p:cNvPr>
          <p:cNvSpPr txBox="1"/>
          <p:nvPr/>
        </p:nvSpPr>
        <p:spPr>
          <a:xfrm>
            <a:off x="0" y="6132"/>
            <a:ext cx="243840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5400" b="1" i="1">
                <a:solidFill>
                  <a:schemeClr val="tx1"/>
                </a:solidFill>
              </a:rPr>
              <a:t>Ouvimos nossos stakeholders... </a:t>
            </a: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xmlns="" id="{6853278A-04F7-4A10-AF8B-67B1040787B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20597724">
            <a:off x="-996230" y="1059322"/>
            <a:ext cx="8869947" cy="498934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" name="Imagem 3">
            <a:extLst>
              <a:ext uri="{FF2B5EF4-FFF2-40B4-BE49-F238E27FC236}">
                <a16:creationId xmlns:a16="http://schemas.microsoft.com/office/drawing/2014/main" xmlns="" id="{204FDBD1-4963-4168-813B-26D01D541DA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rot="330151">
            <a:off x="7558061" y="1918496"/>
            <a:ext cx="8891065" cy="500122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" name="Imagem 4">
            <a:extLst>
              <a:ext uri="{FF2B5EF4-FFF2-40B4-BE49-F238E27FC236}">
                <a16:creationId xmlns:a16="http://schemas.microsoft.com/office/drawing/2014/main" xmlns="" id="{F40C7345-2DDA-4367-869B-5C307C5AF0B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 rot="483884">
            <a:off x="15907878" y="1591507"/>
            <a:ext cx="8817470" cy="495982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Imagem 5">
            <a:extLst>
              <a:ext uri="{FF2B5EF4-FFF2-40B4-BE49-F238E27FC236}">
                <a16:creationId xmlns:a16="http://schemas.microsoft.com/office/drawing/2014/main" xmlns="" id="{2B44984C-277A-4289-9EF9-452EB756176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 rot="20981847">
            <a:off x="-238896" y="8181356"/>
            <a:ext cx="8803081" cy="495173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Imagem 6">
            <a:extLst>
              <a:ext uri="{FF2B5EF4-FFF2-40B4-BE49-F238E27FC236}">
                <a16:creationId xmlns:a16="http://schemas.microsoft.com/office/drawing/2014/main" xmlns="" id="{68F27952-A2B4-4F28-99E9-C0500F2D03AC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 rot="21267531">
            <a:off x="8341127" y="8331931"/>
            <a:ext cx="8801473" cy="495082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" name="Imagem 9">
            <a:extLst>
              <a:ext uri="{FF2B5EF4-FFF2-40B4-BE49-F238E27FC236}">
                <a16:creationId xmlns:a16="http://schemas.microsoft.com/office/drawing/2014/main" xmlns="" id="{B1806D60-BA58-4A19-BEB6-282ABC3654A3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 rot="21444149">
            <a:off x="16530698" y="8184745"/>
            <a:ext cx="8791028" cy="494495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991051214"/>
      </p:ext>
    </p:extLst>
  </p:cSld>
  <p:clrMapOvr>
    <a:masterClrMapping/>
  </p:clrMapOvr>
  <p:transition spd="med"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Imagem 45" descr="Uma imagem contendo fogos de artifício, pipa&#10;&#10;Descrição gerada automaticamente">
            <a:extLst>
              <a:ext uri="{FF2B5EF4-FFF2-40B4-BE49-F238E27FC236}">
                <a16:creationId xmlns:a16="http://schemas.microsoft.com/office/drawing/2014/main" xmlns="" id="{EBC4024F-E120-42FF-91A4-4AF651E3803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3730324" flipH="1" flipV="1">
            <a:off x="13984446" y="4360792"/>
            <a:ext cx="5431019" cy="5431019"/>
          </a:xfrm>
          <a:prstGeom prst="rect">
            <a:avLst/>
          </a:prstGeom>
        </p:spPr>
      </p:pic>
      <p:pic>
        <p:nvPicPr>
          <p:cNvPr id="56" name="Imagem 55" descr="Uma imagem contendo fogos de artifício, pipa&#10;&#10;Descrição gerada automaticamente">
            <a:extLst>
              <a:ext uri="{FF2B5EF4-FFF2-40B4-BE49-F238E27FC236}">
                <a16:creationId xmlns:a16="http://schemas.microsoft.com/office/drawing/2014/main" xmlns="" id="{591957B1-2764-4AF7-B619-6675E431B35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169313" flipH="1" flipV="1">
            <a:off x="5538241" y="1570961"/>
            <a:ext cx="5431019" cy="5431019"/>
          </a:xfrm>
          <a:prstGeom prst="rect">
            <a:avLst/>
          </a:prstGeom>
        </p:spPr>
      </p:pic>
      <p:pic>
        <p:nvPicPr>
          <p:cNvPr id="57" name="Imagem 56" descr="Uma imagem contendo fogos de artifício, pipa&#10;&#10;Descrição gerada automaticamente">
            <a:extLst>
              <a:ext uri="{FF2B5EF4-FFF2-40B4-BE49-F238E27FC236}">
                <a16:creationId xmlns:a16="http://schemas.microsoft.com/office/drawing/2014/main" xmlns="" id="{CBEAD0F1-D7C3-44A6-8311-6DA15021B9C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1172711" flipH="1" flipV="1">
            <a:off x="6510599" y="7502779"/>
            <a:ext cx="5431019" cy="5431019"/>
          </a:xfrm>
          <a:prstGeom prst="rect">
            <a:avLst/>
          </a:prstGeom>
        </p:spPr>
      </p:pic>
      <p:sp>
        <p:nvSpPr>
          <p:cNvPr id="30" name="Elipse 3">
            <a:extLst>
              <a:ext uri="{FF2B5EF4-FFF2-40B4-BE49-F238E27FC236}">
                <a16:creationId xmlns:a16="http://schemas.microsoft.com/office/drawing/2014/main" xmlns="" id="{7AADFE70-9414-464C-9FD9-C59B4FE812BA}"/>
              </a:ext>
            </a:extLst>
          </p:cNvPr>
          <p:cNvSpPr/>
          <p:nvPr/>
        </p:nvSpPr>
        <p:spPr>
          <a:xfrm rot="19583597">
            <a:off x="14184834" y="2277733"/>
            <a:ext cx="2614938" cy="2159995"/>
          </a:xfrm>
          <a:custGeom>
            <a:avLst/>
            <a:gdLst>
              <a:gd name="connsiteX0" fmla="*/ 0 w 3233132"/>
              <a:gd name="connsiteY0" fmla="*/ 1591757 h 3183514"/>
              <a:gd name="connsiteX1" fmla="*/ 1616566 w 3233132"/>
              <a:gd name="connsiteY1" fmla="*/ 0 h 3183514"/>
              <a:gd name="connsiteX2" fmla="*/ 3233132 w 3233132"/>
              <a:gd name="connsiteY2" fmla="*/ 1591757 h 3183514"/>
              <a:gd name="connsiteX3" fmla="*/ 1616566 w 3233132"/>
              <a:gd name="connsiteY3" fmla="*/ 3183514 h 3183514"/>
              <a:gd name="connsiteX4" fmla="*/ 0 w 3233132"/>
              <a:gd name="connsiteY4" fmla="*/ 1591757 h 3183514"/>
              <a:gd name="connsiteX0" fmla="*/ 4861 w 3237993"/>
              <a:gd name="connsiteY0" fmla="*/ 1485431 h 3077188"/>
              <a:gd name="connsiteX1" fmla="*/ 1281185 w 3237993"/>
              <a:gd name="connsiteY1" fmla="*/ 0 h 3077188"/>
              <a:gd name="connsiteX2" fmla="*/ 3237993 w 3237993"/>
              <a:gd name="connsiteY2" fmla="*/ 1485431 h 3077188"/>
              <a:gd name="connsiteX3" fmla="*/ 1621427 w 3237993"/>
              <a:gd name="connsiteY3" fmla="*/ 3077188 h 3077188"/>
              <a:gd name="connsiteX4" fmla="*/ 4861 w 3237993"/>
              <a:gd name="connsiteY4" fmla="*/ 1485431 h 3077188"/>
              <a:gd name="connsiteX0" fmla="*/ 4861 w 3237993"/>
              <a:gd name="connsiteY0" fmla="*/ 1485431 h 2885802"/>
              <a:gd name="connsiteX1" fmla="*/ 1281185 w 3237993"/>
              <a:gd name="connsiteY1" fmla="*/ 0 h 2885802"/>
              <a:gd name="connsiteX2" fmla="*/ 3237993 w 3237993"/>
              <a:gd name="connsiteY2" fmla="*/ 1485431 h 2885802"/>
              <a:gd name="connsiteX3" fmla="*/ 1621427 w 3237993"/>
              <a:gd name="connsiteY3" fmla="*/ 2885802 h 2885802"/>
              <a:gd name="connsiteX4" fmla="*/ 4861 w 3237993"/>
              <a:gd name="connsiteY4" fmla="*/ 1485431 h 2885802"/>
              <a:gd name="connsiteX0" fmla="*/ 2785 w 3065796"/>
              <a:gd name="connsiteY0" fmla="*/ 1485446 h 2885827"/>
              <a:gd name="connsiteX1" fmla="*/ 1279109 w 3065796"/>
              <a:gd name="connsiteY1" fmla="*/ 15 h 2885827"/>
              <a:gd name="connsiteX2" fmla="*/ 3065796 w 3065796"/>
              <a:gd name="connsiteY2" fmla="*/ 1464180 h 2885827"/>
              <a:gd name="connsiteX3" fmla="*/ 1619351 w 3065796"/>
              <a:gd name="connsiteY3" fmla="*/ 2885817 h 2885827"/>
              <a:gd name="connsiteX4" fmla="*/ 2785 w 3065796"/>
              <a:gd name="connsiteY4" fmla="*/ 1485446 h 28858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65796" h="2885827">
                <a:moveTo>
                  <a:pt x="2785" y="1485446"/>
                </a:moveTo>
                <a:cubicBezTo>
                  <a:pt x="-53922" y="1004479"/>
                  <a:pt x="768607" y="3559"/>
                  <a:pt x="1279109" y="15"/>
                </a:cubicBezTo>
                <a:cubicBezTo>
                  <a:pt x="1789611" y="-3529"/>
                  <a:pt x="3065796" y="585077"/>
                  <a:pt x="3065796" y="1464180"/>
                </a:cubicBezTo>
                <a:cubicBezTo>
                  <a:pt x="3065796" y="2343283"/>
                  <a:pt x="2129853" y="2882273"/>
                  <a:pt x="1619351" y="2885817"/>
                </a:cubicBezTo>
                <a:cubicBezTo>
                  <a:pt x="1108849" y="2889361"/>
                  <a:pt x="59492" y="1966413"/>
                  <a:pt x="2785" y="1485446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  <a:alpha val="50000"/>
            </a:schemeClr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xmlns="" id="{839C584B-D91C-4C90-A07B-6E27AB80368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96" name="Slide do think-cell" r:id="rId5" imgW="425" imgH="426" progId="TCLayout.ActiveDocument.1">
                  <p:embed/>
                </p:oleObj>
              </mc:Choice>
              <mc:Fallback>
                <p:oleObj name="Slide do think-cell" r:id="rId5" imgW="425" imgH="426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xmlns="" id="{839C584B-D91C-4C90-A07B-6E27AB8036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Elipse 3">
            <a:extLst>
              <a:ext uri="{FF2B5EF4-FFF2-40B4-BE49-F238E27FC236}">
                <a16:creationId xmlns:a16="http://schemas.microsoft.com/office/drawing/2014/main" xmlns="" id="{F7A035CA-B007-4991-AC6F-20B2829D5DF7}"/>
              </a:ext>
            </a:extLst>
          </p:cNvPr>
          <p:cNvSpPr/>
          <p:nvPr/>
        </p:nvSpPr>
        <p:spPr>
          <a:xfrm>
            <a:off x="8799347" y="4906295"/>
            <a:ext cx="6763376" cy="3435533"/>
          </a:xfrm>
          <a:custGeom>
            <a:avLst/>
            <a:gdLst>
              <a:gd name="connsiteX0" fmla="*/ 0 w 3233132"/>
              <a:gd name="connsiteY0" fmla="*/ 1591757 h 3183514"/>
              <a:gd name="connsiteX1" fmla="*/ 1616566 w 3233132"/>
              <a:gd name="connsiteY1" fmla="*/ 0 h 3183514"/>
              <a:gd name="connsiteX2" fmla="*/ 3233132 w 3233132"/>
              <a:gd name="connsiteY2" fmla="*/ 1591757 h 3183514"/>
              <a:gd name="connsiteX3" fmla="*/ 1616566 w 3233132"/>
              <a:gd name="connsiteY3" fmla="*/ 3183514 h 3183514"/>
              <a:gd name="connsiteX4" fmla="*/ 0 w 3233132"/>
              <a:gd name="connsiteY4" fmla="*/ 1591757 h 3183514"/>
              <a:gd name="connsiteX0" fmla="*/ 4861 w 3237993"/>
              <a:gd name="connsiteY0" fmla="*/ 1485431 h 3077188"/>
              <a:gd name="connsiteX1" fmla="*/ 1281185 w 3237993"/>
              <a:gd name="connsiteY1" fmla="*/ 0 h 3077188"/>
              <a:gd name="connsiteX2" fmla="*/ 3237993 w 3237993"/>
              <a:gd name="connsiteY2" fmla="*/ 1485431 h 3077188"/>
              <a:gd name="connsiteX3" fmla="*/ 1621427 w 3237993"/>
              <a:gd name="connsiteY3" fmla="*/ 3077188 h 3077188"/>
              <a:gd name="connsiteX4" fmla="*/ 4861 w 3237993"/>
              <a:gd name="connsiteY4" fmla="*/ 1485431 h 3077188"/>
              <a:gd name="connsiteX0" fmla="*/ 4861 w 3237993"/>
              <a:gd name="connsiteY0" fmla="*/ 1485431 h 2885802"/>
              <a:gd name="connsiteX1" fmla="*/ 1281185 w 3237993"/>
              <a:gd name="connsiteY1" fmla="*/ 0 h 2885802"/>
              <a:gd name="connsiteX2" fmla="*/ 3237993 w 3237993"/>
              <a:gd name="connsiteY2" fmla="*/ 1485431 h 2885802"/>
              <a:gd name="connsiteX3" fmla="*/ 1621427 w 3237993"/>
              <a:gd name="connsiteY3" fmla="*/ 2885802 h 2885802"/>
              <a:gd name="connsiteX4" fmla="*/ 4861 w 3237993"/>
              <a:gd name="connsiteY4" fmla="*/ 1485431 h 2885802"/>
              <a:gd name="connsiteX0" fmla="*/ 2785 w 3065796"/>
              <a:gd name="connsiteY0" fmla="*/ 1485446 h 2885827"/>
              <a:gd name="connsiteX1" fmla="*/ 1279109 w 3065796"/>
              <a:gd name="connsiteY1" fmla="*/ 15 h 2885827"/>
              <a:gd name="connsiteX2" fmla="*/ 3065796 w 3065796"/>
              <a:gd name="connsiteY2" fmla="*/ 1464180 h 2885827"/>
              <a:gd name="connsiteX3" fmla="*/ 1619351 w 3065796"/>
              <a:gd name="connsiteY3" fmla="*/ 2885817 h 2885827"/>
              <a:gd name="connsiteX4" fmla="*/ 2785 w 3065796"/>
              <a:gd name="connsiteY4" fmla="*/ 1485446 h 2885827"/>
              <a:gd name="connsiteX0" fmla="*/ 2777 w 3051070"/>
              <a:gd name="connsiteY0" fmla="*/ 1492923 h 2895991"/>
              <a:gd name="connsiteX1" fmla="*/ 1279101 w 3051070"/>
              <a:gd name="connsiteY1" fmla="*/ 7492 h 2895991"/>
              <a:gd name="connsiteX2" fmla="*/ 3051070 w 3051070"/>
              <a:gd name="connsiteY2" fmla="*/ 1128518 h 2895991"/>
              <a:gd name="connsiteX3" fmla="*/ 1619343 w 3051070"/>
              <a:gd name="connsiteY3" fmla="*/ 2893294 h 2895991"/>
              <a:gd name="connsiteX4" fmla="*/ 2777 w 3051070"/>
              <a:gd name="connsiteY4" fmla="*/ 1492923 h 2895991"/>
              <a:gd name="connsiteX0" fmla="*/ 3007 w 3051300"/>
              <a:gd name="connsiteY0" fmla="*/ 1492923 h 2445227"/>
              <a:gd name="connsiteX1" fmla="*/ 1279331 w 3051300"/>
              <a:gd name="connsiteY1" fmla="*/ 7492 h 2445227"/>
              <a:gd name="connsiteX2" fmla="*/ 3051300 w 3051300"/>
              <a:gd name="connsiteY2" fmla="*/ 1128518 h 2445227"/>
              <a:gd name="connsiteX3" fmla="*/ 1634291 w 3051300"/>
              <a:gd name="connsiteY3" fmla="*/ 2440974 h 2445227"/>
              <a:gd name="connsiteX4" fmla="*/ 3007 w 3051300"/>
              <a:gd name="connsiteY4" fmla="*/ 1492923 h 2445227"/>
              <a:gd name="connsiteX0" fmla="*/ 3007 w 3051300"/>
              <a:gd name="connsiteY0" fmla="*/ 1492923 h 2533731"/>
              <a:gd name="connsiteX1" fmla="*/ 1279331 w 3051300"/>
              <a:gd name="connsiteY1" fmla="*/ 7492 h 2533731"/>
              <a:gd name="connsiteX2" fmla="*/ 3051300 w 3051300"/>
              <a:gd name="connsiteY2" fmla="*/ 1128518 h 2533731"/>
              <a:gd name="connsiteX3" fmla="*/ 1634291 w 3051300"/>
              <a:gd name="connsiteY3" fmla="*/ 2440974 h 2533731"/>
              <a:gd name="connsiteX4" fmla="*/ 3007 w 3051300"/>
              <a:gd name="connsiteY4" fmla="*/ 1492923 h 2533731"/>
              <a:gd name="connsiteX0" fmla="*/ 2891 w 3051184"/>
              <a:gd name="connsiteY0" fmla="*/ 1492923 h 2725334"/>
              <a:gd name="connsiteX1" fmla="*/ 1279215 w 3051184"/>
              <a:gd name="connsiteY1" fmla="*/ 7492 h 2725334"/>
              <a:gd name="connsiteX2" fmla="*/ 3051184 w 3051184"/>
              <a:gd name="connsiteY2" fmla="*/ 1128518 h 2725334"/>
              <a:gd name="connsiteX3" fmla="*/ 1626816 w 3051184"/>
              <a:gd name="connsiteY3" fmla="*/ 2643738 h 2725334"/>
              <a:gd name="connsiteX4" fmla="*/ 2891 w 3051184"/>
              <a:gd name="connsiteY4" fmla="*/ 1492923 h 2725334"/>
              <a:gd name="connsiteX0" fmla="*/ 3256 w 2933803"/>
              <a:gd name="connsiteY0" fmla="*/ 1460491 h 2645435"/>
              <a:gd name="connsiteX1" fmla="*/ 1161834 w 2933803"/>
              <a:gd name="connsiteY1" fmla="*/ 6440 h 2645435"/>
              <a:gd name="connsiteX2" fmla="*/ 2933803 w 2933803"/>
              <a:gd name="connsiteY2" fmla="*/ 1127466 h 2645435"/>
              <a:gd name="connsiteX3" fmla="*/ 1509435 w 2933803"/>
              <a:gd name="connsiteY3" fmla="*/ 2642686 h 2645435"/>
              <a:gd name="connsiteX4" fmla="*/ 3256 w 2933803"/>
              <a:gd name="connsiteY4" fmla="*/ 1460491 h 2645435"/>
              <a:gd name="connsiteX0" fmla="*/ 3099 w 2933646"/>
              <a:gd name="connsiteY0" fmla="*/ 1677766 h 2862834"/>
              <a:gd name="connsiteX1" fmla="*/ 1169036 w 2933646"/>
              <a:gd name="connsiteY1" fmla="*/ 4059 h 2862834"/>
              <a:gd name="connsiteX2" fmla="*/ 2933646 w 2933646"/>
              <a:gd name="connsiteY2" fmla="*/ 1344741 h 2862834"/>
              <a:gd name="connsiteX3" fmla="*/ 1509278 w 2933646"/>
              <a:gd name="connsiteY3" fmla="*/ 2859961 h 2862834"/>
              <a:gd name="connsiteX4" fmla="*/ 3099 w 2933646"/>
              <a:gd name="connsiteY4" fmla="*/ 1677766 h 2862834"/>
              <a:gd name="connsiteX0" fmla="*/ 3709 w 2779714"/>
              <a:gd name="connsiteY0" fmla="*/ 1742005 h 2865731"/>
              <a:gd name="connsiteX1" fmla="*/ 1015104 w 2779714"/>
              <a:gd name="connsiteY1" fmla="*/ 5540 h 2865731"/>
              <a:gd name="connsiteX2" fmla="*/ 2779714 w 2779714"/>
              <a:gd name="connsiteY2" fmla="*/ 1346222 h 2865731"/>
              <a:gd name="connsiteX3" fmla="*/ 1355346 w 2779714"/>
              <a:gd name="connsiteY3" fmla="*/ 2861442 h 2865731"/>
              <a:gd name="connsiteX4" fmla="*/ 3709 w 2779714"/>
              <a:gd name="connsiteY4" fmla="*/ 1742005 h 2865731"/>
              <a:gd name="connsiteX0" fmla="*/ 22 w 2776027"/>
              <a:gd name="connsiteY0" fmla="*/ 1742005 h 3006368"/>
              <a:gd name="connsiteX1" fmla="*/ 1011417 w 2776027"/>
              <a:gd name="connsiteY1" fmla="*/ 5540 h 3006368"/>
              <a:gd name="connsiteX2" fmla="*/ 2776027 w 2776027"/>
              <a:gd name="connsiteY2" fmla="*/ 1346222 h 3006368"/>
              <a:gd name="connsiteX3" fmla="*/ 1035217 w 2776027"/>
              <a:gd name="connsiteY3" fmla="*/ 3002650 h 3006368"/>
              <a:gd name="connsiteX4" fmla="*/ 22 w 2776027"/>
              <a:gd name="connsiteY4" fmla="*/ 1742005 h 3006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76027" h="3006368">
                <a:moveTo>
                  <a:pt x="22" y="1742005"/>
                </a:moveTo>
                <a:cubicBezTo>
                  <a:pt x="-3945" y="1242487"/>
                  <a:pt x="548750" y="71504"/>
                  <a:pt x="1011417" y="5540"/>
                </a:cubicBezTo>
                <a:cubicBezTo>
                  <a:pt x="1474085" y="-60424"/>
                  <a:pt x="2776027" y="467119"/>
                  <a:pt x="2776027" y="1346222"/>
                </a:cubicBezTo>
                <a:cubicBezTo>
                  <a:pt x="2776027" y="2225325"/>
                  <a:pt x="1497885" y="2936686"/>
                  <a:pt x="1035217" y="3002650"/>
                </a:cubicBezTo>
                <a:cubicBezTo>
                  <a:pt x="572550" y="3068614"/>
                  <a:pt x="3989" y="2241523"/>
                  <a:pt x="22" y="1742005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  <a:alpha val="50000"/>
            </a:schemeClr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" name="Título 1">
            <a:extLst>
              <a:ext uri="{FF2B5EF4-FFF2-40B4-BE49-F238E27FC236}">
                <a16:creationId xmlns:a16="http://schemas.microsoft.com/office/drawing/2014/main" xmlns="" id="{6E1E4082-CC2F-404F-9598-39BE5D3F2348}"/>
              </a:ext>
            </a:extLst>
          </p:cNvPr>
          <p:cNvSpPr txBox="1">
            <a:spLocks/>
          </p:cNvSpPr>
          <p:nvPr/>
        </p:nvSpPr>
        <p:spPr>
          <a:xfrm>
            <a:off x="550492" y="372411"/>
            <a:ext cx="24384000" cy="1316792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4800" b="1">
                <a:solidFill>
                  <a:srgbClr val="F44F1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Bandeiras ABRACEEL 2022 - 2025</a:t>
            </a:r>
          </a:p>
        </p:txBody>
      </p:sp>
      <p:pic>
        <p:nvPicPr>
          <p:cNvPr id="5" name="Picture 263" descr="ABRACEEL">
            <a:extLst>
              <a:ext uri="{FF2B5EF4-FFF2-40B4-BE49-F238E27FC236}">
                <a16:creationId xmlns:a16="http://schemas.microsoft.com/office/drawing/2014/main" xmlns="" id="{E795C2B7-FCEB-4C59-810F-191AF94E4B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75670" y="7236144"/>
            <a:ext cx="1593538" cy="5789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Imagem 6" descr="Texto&#10;&#10;Descrição gerada automaticamente">
            <a:extLst>
              <a:ext uri="{FF2B5EF4-FFF2-40B4-BE49-F238E27FC236}">
                <a16:creationId xmlns:a16="http://schemas.microsoft.com/office/drawing/2014/main" xmlns="" id="{0D0C6025-08B0-4911-B533-B1A5F2F1C2DC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71357" y="5493276"/>
            <a:ext cx="1980000" cy="1980000"/>
          </a:xfrm>
          <a:prstGeom prst="rect">
            <a:avLst/>
          </a:prstGeom>
        </p:spPr>
      </p:pic>
      <p:cxnSp>
        <p:nvCxnSpPr>
          <p:cNvPr id="8" name="Conector reto 7">
            <a:extLst>
              <a:ext uri="{FF2B5EF4-FFF2-40B4-BE49-F238E27FC236}">
                <a16:creationId xmlns:a16="http://schemas.microsoft.com/office/drawing/2014/main" xmlns="" id="{5C3A3042-2763-4BBE-AB90-188AEA6AA441}"/>
              </a:ext>
            </a:extLst>
          </p:cNvPr>
          <p:cNvCxnSpPr>
            <a:cxnSpLocks/>
          </p:cNvCxnSpPr>
          <p:nvPr/>
        </p:nvCxnSpPr>
        <p:spPr>
          <a:xfrm>
            <a:off x="11150121" y="5586652"/>
            <a:ext cx="0" cy="1975822"/>
          </a:xfrm>
          <a:prstGeom prst="line">
            <a:avLst/>
          </a:prstGeom>
          <a:noFill/>
          <a:ln w="63500" cap="flat">
            <a:solidFill>
              <a:srgbClr val="F44F15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9" name="Título 1">
            <a:extLst>
              <a:ext uri="{FF2B5EF4-FFF2-40B4-BE49-F238E27FC236}">
                <a16:creationId xmlns:a16="http://schemas.microsoft.com/office/drawing/2014/main" xmlns="" id="{21F9F136-E586-4623-91AB-0A17BF289D1B}"/>
              </a:ext>
            </a:extLst>
          </p:cNvPr>
          <p:cNvSpPr txBox="1">
            <a:spLocks/>
          </p:cNvSpPr>
          <p:nvPr/>
        </p:nvSpPr>
        <p:spPr>
          <a:xfrm>
            <a:off x="11387253" y="5712158"/>
            <a:ext cx="3565871" cy="1316792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b="1">
                <a:solidFill>
                  <a:srgbClr val="F44F1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lanejamento </a:t>
            </a:r>
          </a:p>
          <a:p>
            <a:r>
              <a:rPr lang="pt-BR" b="1">
                <a:solidFill>
                  <a:srgbClr val="F44F1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stratégico</a:t>
            </a:r>
          </a:p>
          <a:p>
            <a:r>
              <a:rPr lang="pt-BR" b="1">
                <a:solidFill>
                  <a:srgbClr val="F44F1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022 - 2025</a:t>
            </a:r>
          </a:p>
        </p:txBody>
      </p:sp>
      <p:sp>
        <p:nvSpPr>
          <p:cNvPr id="25" name="Elipse 3">
            <a:extLst>
              <a:ext uri="{FF2B5EF4-FFF2-40B4-BE49-F238E27FC236}">
                <a16:creationId xmlns:a16="http://schemas.microsoft.com/office/drawing/2014/main" xmlns="" id="{C6565A0D-EE65-4789-8C47-A02AB2DB491F}"/>
              </a:ext>
            </a:extLst>
          </p:cNvPr>
          <p:cNvSpPr/>
          <p:nvPr/>
        </p:nvSpPr>
        <p:spPr>
          <a:xfrm>
            <a:off x="5647751" y="6515699"/>
            <a:ext cx="2614938" cy="2159995"/>
          </a:xfrm>
          <a:custGeom>
            <a:avLst/>
            <a:gdLst>
              <a:gd name="connsiteX0" fmla="*/ 0 w 3233132"/>
              <a:gd name="connsiteY0" fmla="*/ 1591757 h 3183514"/>
              <a:gd name="connsiteX1" fmla="*/ 1616566 w 3233132"/>
              <a:gd name="connsiteY1" fmla="*/ 0 h 3183514"/>
              <a:gd name="connsiteX2" fmla="*/ 3233132 w 3233132"/>
              <a:gd name="connsiteY2" fmla="*/ 1591757 h 3183514"/>
              <a:gd name="connsiteX3" fmla="*/ 1616566 w 3233132"/>
              <a:gd name="connsiteY3" fmla="*/ 3183514 h 3183514"/>
              <a:gd name="connsiteX4" fmla="*/ 0 w 3233132"/>
              <a:gd name="connsiteY4" fmla="*/ 1591757 h 3183514"/>
              <a:gd name="connsiteX0" fmla="*/ 4861 w 3237993"/>
              <a:gd name="connsiteY0" fmla="*/ 1485431 h 3077188"/>
              <a:gd name="connsiteX1" fmla="*/ 1281185 w 3237993"/>
              <a:gd name="connsiteY1" fmla="*/ 0 h 3077188"/>
              <a:gd name="connsiteX2" fmla="*/ 3237993 w 3237993"/>
              <a:gd name="connsiteY2" fmla="*/ 1485431 h 3077188"/>
              <a:gd name="connsiteX3" fmla="*/ 1621427 w 3237993"/>
              <a:gd name="connsiteY3" fmla="*/ 3077188 h 3077188"/>
              <a:gd name="connsiteX4" fmla="*/ 4861 w 3237993"/>
              <a:gd name="connsiteY4" fmla="*/ 1485431 h 3077188"/>
              <a:gd name="connsiteX0" fmla="*/ 4861 w 3237993"/>
              <a:gd name="connsiteY0" fmla="*/ 1485431 h 2885802"/>
              <a:gd name="connsiteX1" fmla="*/ 1281185 w 3237993"/>
              <a:gd name="connsiteY1" fmla="*/ 0 h 2885802"/>
              <a:gd name="connsiteX2" fmla="*/ 3237993 w 3237993"/>
              <a:gd name="connsiteY2" fmla="*/ 1485431 h 2885802"/>
              <a:gd name="connsiteX3" fmla="*/ 1621427 w 3237993"/>
              <a:gd name="connsiteY3" fmla="*/ 2885802 h 2885802"/>
              <a:gd name="connsiteX4" fmla="*/ 4861 w 3237993"/>
              <a:gd name="connsiteY4" fmla="*/ 1485431 h 2885802"/>
              <a:gd name="connsiteX0" fmla="*/ 2785 w 3065796"/>
              <a:gd name="connsiteY0" fmla="*/ 1485446 h 2885827"/>
              <a:gd name="connsiteX1" fmla="*/ 1279109 w 3065796"/>
              <a:gd name="connsiteY1" fmla="*/ 15 h 2885827"/>
              <a:gd name="connsiteX2" fmla="*/ 3065796 w 3065796"/>
              <a:gd name="connsiteY2" fmla="*/ 1464180 h 2885827"/>
              <a:gd name="connsiteX3" fmla="*/ 1619351 w 3065796"/>
              <a:gd name="connsiteY3" fmla="*/ 2885817 h 2885827"/>
              <a:gd name="connsiteX4" fmla="*/ 2785 w 3065796"/>
              <a:gd name="connsiteY4" fmla="*/ 1485446 h 28858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65796" h="2885827">
                <a:moveTo>
                  <a:pt x="2785" y="1485446"/>
                </a:moveTo>
                <a:cubicBezTo>
                  <a:pt x="-53922" y="1004479"/>
                  <a:pt x="768607" y="3559"/>
                  <a:pt x="1279109" y="15"/>
                </a:cubicBezTo>
                <a:cubicBezTo>
                  <a:pt x="1789611" y="-3529"/>
                  <a:pt x="3065796" y="585077"/>
                  <a:pt x="3065796" y="1464180"/>
                </a:cubicBezTo>
                <a:cubicBezTo>
                  <a:pt x="3065796" y="2343283"/>
                  <a:pt x="2129853" y="2882273"/>
                  <a:pt x="1619351" y="2885817"/>
                </a:cubicBezTo>
                <a:cubicBezTo>
                  <a:pt x="1108849" y="2889361"/>
                  <a:pt x="59492" y="1966413"/>
                  <a:pt x="2785" y="1485446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  <a:alpha val="50000"/>
            </a:schemeClr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26" name="Conector reto 25">
            <a:extLst>
              <a:ext uri="{FF2B5EF4-FFF2-40B4-BE49-F238E27FC236}">
                <a16:creationId xmlns:a16="http://schemas.microsoft.com/office/drawing/2014/main" xmlns="" id="{7C29B510-B0F9-41B9-B8CB-91F17F7D1265}"/>
              </a:ext>
            </a:extLst>
          </p:cNvPr>
          <p:cNvCxnSpPr>
            <a:cxnSpLocks/>
          </p:cNvCxnSpPr>
          <p:nvPr/>
        </p:nvCxnSpPr>
        <p:spPr>
          <a:xfrm>
            <a:off x="5455823" y="6607785"/>
            <a:ext cx="0" cy="1975822"/>
          </a:xfrm>
          <a:prstGeom prst="line">
            <a:avLst/>
          </a:prstGeom>
          <a:noFill/>
          <a:ln w="63500" cap="flat">
            <a:solidFill>
              <a:srgbClr val="F44F15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7" name="CaixaDeTexto 26">
            <a:extLst>
              <a:ext uri="{FF2B5EF4-FFF2-40B4-BE49-F238E27FC236}">
                <a16:creationId xmlns:a16="http://schemas.microsoft.com/office/drawing/2014/main" xmlns="" id="{BBE56C7A-C28C-4914-AA62-E074E6F70AE2}"/>
              </a:ext>
            </a:extLst>
          </p:cNvPr>
          <p:cNvSpPr txBox="1"/>
          <p:nvPr/>
        </p:nvSpPr>
        <p:spPr>
          <a:xfrm>
            <a:off x="10001251" y="2224958"/>
            <a:ext cx="3467108" cy="2215989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algn="r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4400" b="1"/>
              <a:t>Abertura do Mercado para o Consumidor</a:t>
            </a:r>
          </a:p>
        </p:txBody>
      </p:sp>
      <p:pic>
        <p:nvPicPr>
          <p:cNvPr id="29" name="Imagem 28">
            <a:extLst>
              <a:ext uri="{FF2B5EF4-FFF2-40B4-BE49-F238E27FC236}">
                <a16:creationId xmlns:a16="http://schemas.microsoft.com/office/drawing/2014/main" xmlns="" id="{1DA63BC2-E198-4914-8D8B-28EB3C5CFCE7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539381" y="2205908"/>
            <a:ext cx="2160000" cy="2160000"/>
          </a:xfrm>
          <a:prstGeom prst="rect">
            <a:avLst/>
          </a:prstGeom>
        </p:spPr>
      </p:pic>
      <p:cxnSp>
        <p:nvCxnSpPr>
          <p:cNvPr id="31" name="Conector reto 30">
            <a:extLst>
              <a:ext uri="{FF2B5EF4-FFF2-40B4-BE49-F238E27FC236}">
                <a16:creationId xmlns:a16="http://schemas.microsoft.com/office/drawing/2014/main" xmlns="" id="{55BBEF52-9E65-485C-8F5D-7FA9C61C7EBE}"/>
              </a:ext>
            </a:extLst>
          </p:cNvPr>
          <p:cNvCxnSpPr>
            <a:cxnSpLocks/>
          </p:cNvCxnSpPr>
          <p:nvPr/>
        </p:nvCxnSpPr>
        <p:spPr>
          <a:xfrm>
            <a:off x="13819908" y="2390086"/>
            <a:ext cx="0" cy="1975822"/>
          </a:xfrm>
          <a:prstGeom prst="line">
            <a:avLst/>
          </a:prstGeom>
          <a:noFill/>
          <a:ln w="63500" cap="flat">
            <a:solidFill>
              <a:srgbClr val="F44F15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8" name="Elipse 3">
            <a:extLst>
              <a:ext uri="{FF2B5EF4-FFF2-40B4-BE49-F238E27FC236}">
                <a16:creationId xmlns:a16="http://schemas.microsoft.com/office/drawing/2014/main" xmlns="" id="{99F9D28A-547E-4A3A-A123-24408A5B6D13}"/>
              </a:ext>
            </a:extLst>
          </p:cNvPr>
          <p:cNvSpPr/>
          <p:nvPr/>
        </p:nvSpPr>
        <p:spPr>
          <a:xfrm rot="2122349">
            <a:off x="11091646" y="9752661"/>
            <a:ext cx="2614938" cy="2159995"/>
          </a:xfrm>
          <a:custGeom>
            <a:avLst/>
            <a:gdLst>
              <a:gd name="connsiteX0" fmla="*/ 0 w 3233132"/>
              <a:gd name="connsiteY0" fmla="*/ 1591757 h 3183514"/>
              <a:gd name="connsiteX1" fmla="*/ 1616566 w 3233132"/>
              <a:gd name="connsiteY1" fmla="*/ 0 h 3183514"/>
              <a:gd name="connsiteX2" fmla="*/ 3233132 w 3233132"/>
              <a:gd name="connsiteY2" fmla="*/ 1591757 h 3183514"/>
              <a:gd name="connsiteX3" fmla="*/ 1616566 w 3233132"/>
              <a:gd name="connsiteY3" fmla="*/ 3183514 h 3183514"/>
              <a:gd name="connsiteX4" fmla="*/ 0 w 3233132"/>
              <a:gd name="connsiteY4" fmla="*/ 1591757 h 3183514"/>
              <a:gd name="connsiteX0" fmla="*/ 4861 w 3237993"/>
              <a:gd name="connsiteY0" fmla="*/ 1485431 h 3077188"/>
              <a:gd name="connsiteX1" fmla="*/ 1281185 w 3237993"/>
              <a:gd name="connsiteY1" fmla="*/ 0 h 3077188"/>
              <a:gd name="connsiteX2" fmla="*/ 3237993 w 3237993"/>
              <a:gd name="connsiteY2" fmla="*/ 1485431 h 3077188"/>
              <a:gd name="connsiteX3" fmla="*/ 1621427 w 3237993"/>
              <a:gd name="connsiteY3" fmla="*/ 3077188 h 3077188"/>
              <a:gd name="connsiteX4" fmla="*/ 4861 w 3237993"/>
              <a:gd name="connsiteY4" fmla="*/ 1485431 h 3077188"/>
              <a:gd name="connsiteX0" fmla="*/ 4861 w 3237993"/>
              <a:gd name="connsiteY0" fmla="*/ 1485431 h 2885802"/>
              <a:gd name="connsiteX1" fmla="*/ 1281185 w 3237993"/>
              <a:gd name="connsiteY1" fmla="*/ 0 h 2885802"/>
              <a:gd name="connsiteX2" fmla="*/ 3237993 w 3237993"/>
              <a:gd name="connsiteY2" fmla="*/ 1485431 h 2885802"/>
              <a:gd name="connsiteX3" fmla="*/ 1621427 w 3237993"/>
              <a:gd name="connsiteY3" fmla="*/ 2885802 h 2885802"/>
              <a:gd name="connsiteX4" fmla="*/ 4861 w 3237993"/>
              <a:gd name="connsiteY4" fmla="*/ 1485431 h 2885802"/>
              <a:gd name="connsiteX0" fmla="*/ 2785 w 3065796"/>
              <a:gd name="connsiteY0" fmla="*/ 1485446 h 2885827"/>
              <a:gd name="connsiteX1" fmla="*/ 1279109 w 3065796"/>
              <a:gd name="connsiteY1" fmla="*/ 15 h 2885827"/>
              <a:gd name="connsiteX2" fmla="*/ 3065796 w 3065796"/>
              <a:gd name="connsiteY2" fmla="*/ 1464180 h 2885827"/>
              <a:gd name="connsiteX3" fmla="*/ 1619351 w 3065796"/>
              <a:gd name="connsiteY3" fmla="*/ 2885817 h 2885827"/>
              <a:gd name="connsiteX4" fmla="*/ 2785 w 3065796"/>
              <a:gd name="connsiteY4" fmla="*/ 1485446 h 28858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65796" h="2885827">
                <a:moveTo>
                  <a:pt x="2785" y="1485446"/>
                </a:moveTo>
                <a:cubicBezTo>
                  <a:pt x="-53922" y="1004479"/>
                  <a:pt x="768607" y="3559"/>
                  <a:pt x="1279109" y="15"/>
                </a:cubicBezTo>
                <a:cubicBezTo>
                  <a:pt x="1789611" y="-3529"/>
                  <a:pt x="3065796" y="585077"/>
                  <a:pt x="3065796" y="1464180"/>
                </a:cubicBezTo>
                <a:cubicBezTo>
                  <a:pt x="3065796" y="2343283"/>
                  <a:pt x="2129853" y="2882273"/>
                  <a:pt x="1619351" y="2885817"/>
                </a:cubicBezTo>
                <a:cubicBezTo>
                  <a:pt x="1108849" y="2889361"/>
                  <a:pt x="59492" y="1966413"/>
                  <a:pt x="2785" y="1485446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  <a:alpha val="50000"/>
            </a:schemeClr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39" name="Conector reto 38">
            <a:extLst>
              <a:ext uri="{FF2B5EF4-FFF2-40B4-BE49-F238E27FC236}">
                <a16:creationId xmlns:a16="http://schemas.microsoft.com/office/drawing/2014/main" xmlns="" id="{6A1939EB-5AF2-44C2-8B24-D1E14F8F9DF6}"/>
              </a:ext>
            </a:extLst>
          </p:cNvPr>
          <p:cNvCxnSpPr>
            <a:cxnSpLocks/>
          </p:cNvCxnSpPr>
          <p:nvPr/>
        </p:nvCxnSpPr>
        <p:spPr>
          <a:xfrm>
            <a:off x="13889634" y="9799347"/>
            <a:ext cx="0" cy="1975822"/>
          </a:xfrm>
          <a:prstGeom prst="line">
            <a:avLst/>
          </a:prstGeom>
          <a:noFill/>
          <a:ln w="63500" cap="flat">
            <a:solidFill>
              <a:srgbClr val="F44F15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3" name="CaixaDeTexto 32">
            <a:extLst>
              <a:ext uri="{FF2B5EF4-FFF2-40B4-BE49-F238E27FC236}">
                <a16:creationId xmlns:a16="http://schemas.microsoft.com/office/drawing/2014/main" xmlns="" id="{7FEF42A2-743D-4D6B-9610-7B664D1B98E2}"/>
              </a:ext>
            </a:extLst>
          </p:cNvPr>
          <p:cNvSpPr txBox="1"/>
          <p:nvPr/>
        </p:nvSpPr>
        <p:spPr>
          <a:xfrm>
            <a:off x="14090433" y="9577370"/>
            <a:ext cx="7164186" cy="2893098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4400" b="1"/>
              <a:t>Mecanismos </a:t>
            </a:r>
          </a:p>
          <a:p>
            <a:pPr marL="0" marR="0" indent="0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4400" b="1"/>
              <a:t>de Formação </a:t>
            </a:r>
          </a:p>
          <a:p>
            <a:pPr marL="0" marR="0" indent="0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4400" b="1"/>
              <a:t>de Preços</a:t>
            </a:r>
          </a:p>
          <a:p>
            <a:pPr marL="0" marR="0" indent="0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pt-BR" sz="4400" b="1"/>
          </a:p>
        </p:txBody>
      </p:sp>
      <p:pic>
        <p:nvPicPr>
          <p:cNvPr id="37" name="Imagem 36">
            <a:extLst>
              <a:ext uri="{FF2B5EF4-FFF2-40B4-BE49-F238E27FC236}">
                <a16:creationId xmlns:a16="http://schemas.microsoft.com/office/drawing/2014/main" xmlns="" id="{DF3FCF22-D6FA-4E06-9A49-440E148D0F04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27833" y="9721781"/>
            <a:ext cx="2160000" cy="2160000"/>
          </a:xfrm>
          <a:prstGeom prst="rect">
            <a:avLst/>
          </a:prstGeom>
        </p:spPr>
      </p:pic>
      <p:sp>
        <p:nvSpPr>
          <p:cNvPr id="54" name="CaixaDeTexto 53">
            <a:extLst>
              <a:ext uri="{FF2B5EF4-FFF2-40B4-BE49-F238E27FC236}">
                <a16:creationId xmlns:a16="http://schemas.microsoft.com/office/drawing/2014/main" xmlns="" id="{70307D07-08F3-47BE-B76C-2EC4BCA9F2A6}"/>
              </a:ext>
            </a:extLst>
          </p:cNvPr>
          <p:cNvSpPr txBox="1"/>
          <p:nvPr/>
        </p:nvSpPr>
        <p:spPr>
          <a:xfrm>
            <a:off x="2166730" y="6865916"/>
            <a:ext cx="3072065" cy="1538881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algn="r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4400" b="1"/>
              <a:t>Segurança </a:t>
            </a:r>
          </a:p>
          <a:p>
            <a:pPr marL="0" marR="0" indent="0" algn="r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4400" b="1"/>
              <a:t>de Mercado</a:t>
            </a:r>
          </a:p>
        </p:txBody>
      </p:sp>
      <p:pic>
        <p:nvPicPr>
          <p:cNvPr id="55" name="Imagem 54">
            <a:extLst>
              <a:ext uri="{FF2B5EF4-FFF2-40B4-BE49-F238E27FC236}">
                <a16:creationId xmlns:a16="http://schemas.microsoft.com/office/drawing/2014/main" xmlns="" id="{2AA3F1CC-6F31-4B1D-B2EA-0F0403C19A9B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4657" y="6531928"/>
            <a:ext cx="2160000" cy="21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09961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8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3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6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2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5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0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3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6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9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2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5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 animBg="1"/>
      <p:bldP spid="24" grpId="0" animBg="1"/>
      <p:bldP spid="9" grpId="0"/>
      <p:bldP spid="25" grpId="0" animBg="1"/>
      <p:bldP spid="27" grpId="0"/>
      <p:bldP spid="38" grpId="0" animBg="1"/>
      <p:bldP spid="33" grpId="0"/>
      <p:bldP spid="54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 descr="Mulher com os braços abertos&#10;&#10;Descrição gerada automaticamente com confiança média">
            <a:extLst>
              <a:ext uri="{FF2B5EF4-FFF2-40B4-BE49-F238E27FC236}">
                <a16:creationId xmlns:a16="http://schemas.microsoft.com/office/drawing/2014/main" xmlns="" id="{B73F1497-0E9E-45AE-87CB-402D1003E4F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4384000" cy="13716000"/>
          </a:xfrm>
          <a:prstGeom prst="rect">
            <a:avLst/>
          </a:prstGeom>
        </p:spPr>
      </p:pic>
      <p:sp>
        <p:nvSpPr>
          <p:cNvPr id="7" name="CaixaDeTexto 6">
            <a:extLst>
              <a:ext uri="{FF2B5EF4-FFF2-40B4-BE49-F238E27FC236}">
                <a16:creationId xmlns:a16="http://schemas.microsoft.com/office/drawing/2014/main" xmlns="" id="{0ADC780A-F781-476C-95E9-DB8CE63689A1}"/>
              </a:ext>
            </a:extLst>
          </p:cNvPr>
          <p:cNvSpPr txBox="1"/>
          <p:nvPr/>
        </p:nvSpPr>
        <p:spPr>
          <a:xfrm>
            <a:off x="-1" y="9523187"/>
            <a:ext cx="24549651" cy="3104009"/>
          </a:xfrm>
          <a:prstGeom prst="rect">
            <a:avLst/>
          </a:prstGeom>
          <a:solidFill>
            <a:schemeClr val="accent2">
              <a:alpha val="28000"/>
            </a:schemeClr>
          </a:solidFill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36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xmlns="" id="{1CE5A89F-4636-4764-86A5-AC029FFB0F5F}"/>
              </a:ext>
            </a:extLst>
          </p:cNvPr>
          <p:cNvSpPr txBox="1"/>
          <p:nvPr/>
        </p:nvSpPr>
        <p:spPr>
          <a:xfrm>
            <a:off x="5632386" y="10188046"/>
            <a:ext cx="7164186" cy="2215989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r>
              <a:rPr lang="pt-BR" sz="6600" b="1">
                <a:solidFill>
                  <a:srgbClr val="F44F15"/>
                </a:solidFill>
              </a:rPr>
              <a:t>Abertura do Mercado</a:t>
            </a:r>
          </a:p>
        </p:txBody>
      </p:sp>
      <p:pic>
        <p:nvPicPr>
          <p:cNvPr id="13" name="Imagem 12">
            <a:extLst>
              <a:ext uri="{FF2B5EF4-FFF2-40B4-BE49-F238E27FC236}">
                <a16:creationId xmlns:a16="http://schemas.microsoft.com/office/drawing/2014/main" xmlns="" id="{CB6A01BB-6665-42BD-8727-F19C1888242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0109" y="9278531"/>
            <a:ext cx="3600000" cy="3600000"/>
          </a:xfrm>
          <a:prstGeom prst="rect">
            <a:avLst/>
          </a:prstGeom>
        </p:spPr>
      </p:pic>
      <p:cxnSp>
        <p:nvCxnSpPr>
          <p:cNvPr id="14" name="Conector reto 13">
            <a:extLst>
              <a:ext uri="{FF2B5EF4-FFF2-40B4-BE49-F238E27FC236}">
                <a16:creationId xmlns:a16="http://schemas.microsoft.com/office/drawing/2014/main" xmlns="" id="{58A054CE-001F-4BFC-BC27-3881F0571395}"/>
              </a:ext>
            </a:extLst>
          </p:cNvPr>
          <p:cNvCxnSpPr>
            <a:cxnSpLocks/>
          </p:cNvCxnSpPr>
          <p:nvPr/>
        </p:nvCxnSpPr>
        <p:spPr>
          <a:xfrm>
            <a:off x="5321801" y="9706593"/>
            <a:ext cx="0" cy="2737198"/>
          </a:xfrm>
          <a:prstGeom prst="line">
            <a:avLst/>
          </a:prstGeom>
          <a:noFill/>
          <a:ln w="63500" cap="flat">
            <a:solidFill>
              <a:srgbClr val="F44F15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19970587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lipse 16">
            <a:extLst>
              <a:ext uri="{FF2B5EF4-FFF2-40B4-BE49-F238E27FC236}">
                <a16:creationId xmlns:a16="http://schemas.microsoft.com/office/drawing/2014/main" xmlns="" id="{2079E4CD-B967-4243-BC00-E4DB61D5F161}"/>
              </a:ext>
            </a:extLst>
          </p:cNvPr>
          <p:cNvSpPr/>
          <p:nvPr/>
        </p:nvSpPr>
        <p:spPr>
          <a:xfrm>
            <a:off x="5153686" y="2495550"/>
            <a:ext cx="14076628" cy="8724901"/>
          </a:xfrm>
          <a:prstGeom prst="ellipse">
            <a:avLst/>
          </a:prstGeom>
          <a:solidFill>
            <a:schemeClr val="bg1">
              <a:lumMod val="95000"/>
            </a:schemeClr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" name="Elipse 6">
            <a:extLst>
              <a:ext uri="{FF2B5EF4-FFF2-40B4-BE49-F238E27FC236}">
                <a16:creationId xmlns:a16="http://schemas.microsoft.com/office/drawing/2014/main" xmlns="" id="{2CC75E1B-60A6-4051-8C30-0131D9465715}"/>
              </a:ext>
            </a:extLst>
          </p:cNvPr>
          <p:cNvSpPr/>
          <p:nvPr/>
        </p:nvSpPr>
        <p:spPr>
          <a:xfrm>
            <a:off x="6391275" y="3771900"/>
            <a:ext cx="11601450" cy="6172200"/>
          </a:xfrm>
          <a:prstGeom prst="ellipse">
            <a:avLst/>
          </a:prstGeom>
          <a:solidFill>
            <a:srgbClr val="FFFFFF"/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graphicFrame>
        <p:nvGraphicFramePr>
          <p:cNvPr id="5" name="Objeto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44" name="Slide do think-cell" r:id="rId5" imgW="501" imgH="502" progId="TCLayout.ActiveDocument.1">
                  <p:embed/>
                </p:oleObj>
              </mc:Choice>
              <mc:Fallback>
                <p:oleObj name="Slide do think-cell" r:id="rId5" imgW="501" imgH="502" progId="TCLayout.ActiveDocument.1">
                  <p:embed/>
                  <p:pic>
                    <p:nvPicPr>
                      <p:cNvPr id="5" name="Objeto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ângulo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317500" cy="3175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pt-BR" sz="1400">
              <a:sym typeface="+mn-lt"/>
            </a:endParaRPr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xmlns="" id="{86BB3901-5917-4697-8B3D-4F2877DEC73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879416" y="5267176"/>
            <a:ext cx="5656262" cy="318164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" name="Imagem 8">
            <a:extLst>
              <a:ext uri="{FF2B5EF4-FFF2-40B4-BE49-F238E27FC236}">
                <a16:creationId xmlns:a16="http://schemas.microsoft.com/office/drawing/2014/main" xmlns="" id="{1B12B5C0-C425-4BEC-AB3F-33F1CF43A4E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rot="20813969">
            <a:off x="642345" y="4424903"/>
            <a:ext cx="6883390" cy="387190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" name="Imagem 9">
            <a:extLst>
              <a:ext uri="{FF2B5EF4-FFF2-40B4-BE49-F238E27FC236}">
                <a16:creationId xmlns:a16="http://schemas.microsoft.com/office/drawing/2014/main" xmlns="" id="{99473BF9-C369-4BD3-A630-7BF04FDDF9C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 rot="424081">
            <a:off x="802005" y="395522"/>
            <a:ext cx="5400000" cy="30375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1" name="Imagem 10">
            <a:extLst>
              <a:ext uri="{FF2B5EF4-FFF2-40B4-BE49-F238E27FC236}">
                <a16:creationId xmlns:a16="http://schemas.microsoft.com/office/drawing/2014/main" xmlns="" id="{A173CD2F-71F9-44D2-ACC8-300E60ECD53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 rot="701113">
            <a:off x="7232979" y="443314"/>
            <a:ext cx="5400000" cy="30375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2" name="Imagem 11">
            <a:extLst>
              <a:ext uri="{FF2B5EF4-FFF2-40B4-BE49-F238E27FC236}">
                <a16:creationId xmlns:a16="http://schemas.microsoft.com/office/drawing/2014/main" xmlns="" id="{46E6BD6E-924F-442F-AEC3-217795495C52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 rot="687977">
            <a:off x="13722710" y="555073"/>
            <a:ext cx="5400000" cy="30375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3" name="Imagem 12">
            <a:extLst>
              <a:ext uri="{FF2B5EF4-FFF2-40B4-BE49-F238E27FC236}">
                <a16:creationId xmlns:a16="http://schemas.microsoft.com/office/drawing/2014/main" xmlns="" id="{B09B03BE-0A22-43CD-BE8F-6151C03580C7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 rot="758823">
            <a:off x="19497327" y="2468575"/>
            <a:ext cx="5400000" cy="30375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4" name="Imagem 13">
            <a:extLst>
              <a:ext uri="{FF2B5EF4-FFF2-40B4-BE49-F238E27FC236}">
                <a16:creationId xmlns:a16="http://schemas.microsoft.com/office/drawing/2014/main" xmlns="" id="{5AE517F4-F923-4859-96CA-870029CBD2C5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 rot="719377">
            <a:off x="17021248" y="5461269"/>
            <a:ext cx="5400000" cy="30375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5" name="Imagem 14">
            <a:extLst>
              <a:ext uri="{FF2B5EF4-FFF2-40B4-BE49-F238E27FC236}">
                <a16:creationId xmlns:a16="http://schemas.microsoft.com/office/drawing/2014/main" xmlns="" id="{36D979DD-8974-416B-9FE2-60250742A4FE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293115" y="9386458"/>
            <a:ext cx="7200000" cy="4050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6" name="Imagem 15">
            <a:extLst>
              <a:ext uri="{FF2B5EF4-FFF2-40B4-BE49-F238E27FC236}">
                <a16:creationId xmlns:a16="http://schemas.microsoft.com/office/drawing/2014/main" xmlns="" id="{D715647D-5C9A-4C4D-A1DA-EEF0A95B0DBB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 rot="20966942">
            <a:off x="8514414" y="9569400"/>
            <a:ext cx="6386264" cy="359227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8" name="Imagem 17">
            <a:extLst>
              <a:ext uri="{FF2B5EF4-FFF2-40B4-BE49-F238E27FC236}">
                <a16:creationId xmlns:a16="http://schemas.microsoft.com/office/drawing/2014/main" xmlns="" id="{660171F3-3E5A-4C1E-B23E-05878896E63C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 rot="638845">
            <a:off x="16383788" y="9701699"/>
            <a:ext cx="5400000" cy="30375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9" name="CaixaDeTexto 18">
            <a:extLst>
              <a:ext uri="{FF2B5EF4-FFF2-40B4-BE49-F238E27FC236}">
                <a16:creationId xmlns:a16="http://schemas.microsoft.com/office/drawing/2014/main" xmlns="" id="{E68C69FB-6C6C-4416-892C-48BF8DAE2D4C}"/>
              </a:ext>
            </a:extLst>
          </p:cNvPr>
          <p:cNvSpPr txBox="1"/>
          <p:nvPr/>
        </p:nvSpPr>
        <p:spPr>
          <a:xfrm>
            <a:off x="21729252" y="12798826"/>
            <a:ext cx="1491112" cy="615551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91439" tIns="91439" rIns="91439" bIns="91439" numCol="1" spcCol="38100" rtlCol="0" anchor="t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sz="2800" b="1" i="0" u="none" strike="noStrike" cap="none" spc="0" normalizeH="0" baseline="0">
                <a:ln>
                  <a:noFill/>
                </a:ln>
                <a:solidFill>
                  <a:srgbClr val="F44F15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rPr>
              <a:t>NPS 86%</a:t>
            </a:r>
          </a:p>
        </p:txBody>
      </p:sp>
    </p:spTree>
    <p:extLst>
      <p:ext uri="{BB962C8B-B14F-4D97-AF65-F5344CB8AC3E}">
        <p14:creationId xmlns:p14="http://schemas.microsoft.com/office/powerpoint/2010/main" val="4079537023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 descr="Tela de computador com texto preto sobre fundo azul&#10;&#10;Descrição gerada automaticamente com confiança média">
            <a:extLst>
              <a:ext uri="{FF2B5EF4-FFF2-40B4-BE49-F238E27FC236}">
                <a16:creationId xmlns:a16="http://schemas.microsoft.com/office/drawing/2014/main" xmlns="" id="{DC41BFEF-5246-4046-AFD0-31F8E035190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"/>
            <a:ext cx="24549652" cy="13734239"/>
          </a:xfrm>
          <a:prstGeom prst="rect">
            <a:avLst/>
          </a:prstGeom>
        </p:spPr>
      </p:pic>
      <p:sp>
        <p:nvSpPr>
          <p:cNvPr id="9" name="CaixaDeTexto 8">
            <a:extLst>
              <a:ext uri="{FF2B5EF4-FFF2-40B4-BE49-F238E27FC236}">
                <a16:creationId xmlns:a16="http://schemas.microsoft.com/office/drawing/2014/main" xmlns="" id="{0ADC780A-F781-476C-95E9-DB8CE63689A1}"/>
              </a:ext>
            </a:extLst>
          </p:cNvPr>
          <p:cNvSpPr txBox="1"/>
          <p:nvPr/>
        </p:nvSpPr>
        <p:spPr>
          <a:xfrm>
            <a:off x="0" y="9760222"/>
            <a:ext cx="24549651" cy="3104009"/>
          </a:xfrm>
          <a:prstGeom prst="rect">
            <a:avLst/>
          </a:prstGeom>
          <a:solidFill>
            <a:schemeClr val="accent1">
              <a:lumMod val="50000"/>
              <a:alpha val="70000"/>
            </a:schemeClr>
          </a:solidFill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36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xmlns="" id="{FB52A738-2969-4A9C-BBB5-18C0662E6B21}"/>
              </a:ext>
            </a:extLst>
          </p:cNvPr>
          <p:cNvSpPr txBox="1"/>
          <p:nvPr/>
        </p:nvSpPr>
        <p:spPr>
          <a:xfrm>
            <a:off x="5632386" y="10446460"/>
            <a:ext cx="7164186" cy="2215989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6600" b="1">
                <a:solidFill>
                  <a:srgbClr val="F44F15"/>
                </a:solidFill>
              </a:rPr>
              <a:t>Segurança de</a:t>
            </a:r>
          </a:p>
          <a:p>
            <a:pPr marL="0" marR="0" indent="0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6600" b="1">
                <a:solidFill>
                  <a:srgbClr val="F44F15"/>
                </a:solidFill>
              </a:rPr>
              <a:t>Mercado</a:t>
            </a:r>
          </a:p>
        </p:txBody>
      </p:sp>
      <p:cxnSp>
        <p:nvCxnSpPr>
          <p:cNvPr id="7" name="Conector reto 6">
            <a:extLst>
              <a:ext uri="{FF2B5EF4-FFF2-40B4-BE49-F238E27FC236}">
                <a16:creationId xmlns:a16="http://schemas.microsoft.com/office/drawing/2014/main" xmlns="" id="{C2A571B2-BF0D-49F1-9873-2BAE8D126CFF}"/>
              </a:ext>
            </a:extLst>
          </p:cNvPr>
          <p:cNvCxnSpPr>
            <a:cxnSpLocks/>
          </p:cNvCxnSpPr>
          <p:nvPr/>
        </p:nvCxnSpPr>
        <p:spPr>
          <a:xfrm>
            <a:off x="5321801" y="9965007"/>
            <a:ext cx="0" cy="2737198"/>
          </a:xfrm>
          <a:prstGeom prst="line">
            <a:avLst/>
          </a:prstGeom>
          <a:noFill/>
          <a:ln w="63500" cap="flat">
            <a:solidFill>
              <a:srgbClr val="F44F15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8" name="Imagem 7">
            <a:extLst>
              <a:ext uri="{FF2B5EF4-FFF2-40B4-BE49-F238E27FC236}">
                <a16:creationId xmlns:a16="http://schemas.microsoft.com/office/drawing/2014/main" xmlns="" id="{354553A8-FCD8-48D5-8D30-7E1A5E8DA77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9509" y="9512226"/>
            <a:ext cx="3600000" cy="36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1599944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lipse 16">
            <a:extLst>
              <a:ext uri="{FF2B5EF4-FFF2-40B4-BE49-F238E27FC236}">
                <a16:creationId xmlns:a16="http://schemas.microsoft.com/office/drawing/2014/main" xmlns="" id="{2079E4CD-B967-4243-BC00-E4DB61D5F161}"/>
              </a:ext>
            </a:extLst>
          </p:cNvPr>
          <p:cNvSpPr/>
          <p:nvPr/>
        </p:nvSpPr>
        <p:spPr>
          <a:xfrm>
            <a:off x="5153686" y="2495550"/>
            <a:ext cx="14076628" cy="8724901"/>
          </a:xfrm>
          <a:prstGeom prst="ellipse">
            <a:avLst/>
          </a:prstGeom>
          <a:solidFill>
            <a:schemeClr val="bg1">
              <a:lumMod val="95000"/>
            </a:schemeClr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" name="Elipse 6">
            <a:extLst>
              <a:ext uri="{FF2B5EF4-FFF2-40B4-BE49-F238E27FC236}">
                <a16:creationId xmlns:a16="http://schemas.microsoft.com/office/drawing/2014/main" xmlns="" id="{2CC75E1B-60A6-4051-8C30-0131D9465715}"/>
              </a:ext>
            </a:extLst>
          </p:cNvPr>
          <p:cNvSpPr/>
          <p:nvPr/>
        </p:nvSpPr>
        <p:spPr>
          <a:xfrm>
            <a:off x="6391275" y="3771900"/>
            <a:ext cx="11601450" cy="6172200"/>
          </a:xfrm>
          <a:prstGeom prst="ellipse">
            <a:avLst/>
          </a:prstGeom>
          <a:solidFill>
            <a:srgbClr val="FFFFFF"/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xmlns="" id="{247E0046-10C2-4E32-BDBA-0E00865791B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886256" y="5267176"/>
            <a:ext cx="5656262" cy="3181647"/>
          </a:xfrm>
          <a:prstGeom prst="rect">
            <a:avLst/>
          </a:prstGeom>
        </p:spPr>
      </p:pic>
      <p:graphicFrame>
        <p:nvGraphicFramePr>
          <p:cNvPr id="5" name="Objeto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92" name="Slide do think-cell" r:id="rId6" imgW="501" imgH="502" progId="TCLayout.ActiveDocument.1">
                  <p:embed/>
                </p:oleObj>
              </mc:Choice>
              <mc:Fallback>
                <p:oleObj name="Slide do think-cell" r:id="rId6" imgW="501" imgH="502" progId="TCLayout.ActiveDocument.1">
                  <p:embed/>
                  <p:pic>
                    <p:nvPicPr>
                      <p:cNvPr id="5" name="Objeto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ângulo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317500" cy="3175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pt-BR" sz="1400">
              <a:sym typeface="+mn-lt"/>
            </a:endParaRPr>
          </a:p>
        </p:txBody>
      </p:sp>
      <p:sp>
        <p:nvSpPr>
          <p:cNvPr id="19" name="CaixaDeTexto 18">
            <a:extLst>
              <a:ext uri="{FF2B5EF4-FFF2-40B4-BE49-F238E27FC236}">
                <a16:creationId xmlns:a16="http://schemas.microsoft.com/office/drawing/2014/main" xmlns="" id="{E68C69FB-6C6C-4416-892C-48BF8DAE2D4C}"/>
              </a:ext>
            </a:extLst>
          </p:cNvPr>
          <p:cNvSpPr txBox="1"/>
          <p:nvPr/>
        </p:nvSpPr>
        <p:spPr>
          <a:xfrm>
            <a:off x="21764659" y="12719390"/>
            <a:ext cx="1491112" cy="615551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91439" tIns="91439" rIns="91439" bIns="91439" numCol="1" spcCol="38100" rtlCol="0" anchor="t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sz="2800" b="1" i="0" u="none" strike="noStrike" cap="none" spc="0" normalizeH="0" baseline="0">
                <a:ln>
                  <a:noFill/>
                </a:ln>
                <a:solidFill>
                  <a:srgbClr val="F44F15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rPr>
              <a:t>NPS 84%</a:t>
            </a: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xmlns="" id="{AA059F4D-0CC8-4474-B563-F3BA29D14D9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rot="20828672">
            <a:off x="209671" y="4932522"/>
            <a:ext cx="6480000" cy="3645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8" name="Imagem 7">
            <a:extLst>
              <a:ext uri="{FF2B5EF4-FFF2-40B4-BE49-F238E27FC236}">
                <a16:creationId xmlns:a16="http://schemas.microsoft.com/office/drawing/2014/main" xmlns="" id="{D2F8DDDC-5FA6-4CFD-ACC2-C231DC4C56A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 rot="479330">
            <a:off x="93318" y="365688"/>
            <a:ext cx="6073367" cy="341626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0" name="Imagem 19">
            <a:extLst>
              <a:ext uri="{FF2B5EF4-FFF2-40B4-BE49-F238E27FC236}">
                <a16:creationId xmlns:a16="http://schemas.microsoft.com/office/drawing/2014/main" xmlns="" id="{37E0A3F4-C2B2-4371-AC07-2BB6CA05E21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 rot="393619">
            <a:off x="7169788" y="274334"/>
            <a:ext cx="5400000" cy="30375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1" name="Imagem 20">
            <a:extLst>
              <a:ext uri="{FF2B5EF4-FFF2-40B4-BE49-F238E27FC236}">
                <a16:creationId xmlns:a16="http://schemas.microsoft.com/office/drawing/2014/main" xmlns="" id="{92E8E6D4-B318-44EC-AB44-E1122DC9A932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 rot="836052">
            <a:off x="13449662" y="652355"/>
            <a:ext cx="5400000" cy="30375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2" name="Imagem 21">
            <a:extLst>
              <a:ext uri="{FF2B5EF4-FFF2-40B4-BE49-F238E27FC236}">
                <a16:creationId xmlns:a16="http://schemas.microsoft.com/office/drawing/2014/main" xmlns="" id="{15718CCF-B49D-43E9-B80F-F4F23F6E6C58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 rot="233021">
            <a:off x="19232603" y="1615399"/>
            <a:ext cx="5400000" cy="30375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3" name="Imagem 22">
            <a:extLst>
              <a:ext uri="{FF2B5EF4-FFF2-40B4-BE49-F238E27FC236}">
                <a16:creationId xmlns:a16="http://schemas.microsoft.com/office/drawing/2014/main" xmlns="" id="{87E9CE95-C156-4E99-9271-79790E362085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 rot="514164">
            <a:off x="16365067" y="5416992"/>
            <a:ext cx="5929742" cy="333548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4" name="Imagem 23">
            <a:extLst>
              <a:ext uri="{FF2B5EF4-FFF2-40B4-BE49-F238E27FC236}">
                <a16:creationId xmlns:a16="http://schemas.microsoft.com/office/drawing/2014/main" xmlns="" id="{FB792A0A-47E2-424C-8858-77FB8368067E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57128" y="9434423"/>
            <a:ext cx="7200000" cy="4050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5" name="Imagem 24">
            <a:extLst>
              <a:ext uri="{FF2B5EF4-FFF2-40B4-BE49-F238E27FC236}">
                <a16:creationId xmlns:a16="http://schemas.microsoft.com/office/drawing/2014/main" xmlns="" id="{318800FD-B885-4AE9-A5BE-5798419DD1D2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8234340" y="9093621"/>
            <a:ext cx="7540125" cy="424132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6" name="Imagem 25">
            <a:extLst>
              <a:ext uri="{FF2B5EF4-FFF2-40B4-BE49-F238E27FC236}">
                <a16:creationId xmlns:a16="http://schemas.microsoft.com/office/drawing/2014/main" xmlns="" id="{43D3178F-74E1-415D-8015-4F5693AFD85B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 rot="605430">
            <a:off x="16546978" y="9695531"/>
            <a:ext cx="5400000" cy="30375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14578351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ítulo 1">
            <a:extLst>
              <a:ext uri="{FF2B5EF4-FFF2-40B4-BE49-F238E27FC236}">
                <a16:creationId xmlns:a16="http://schemas.microsoft.com/office/drawing/2014/main" xmlns="" id="{E852A926-0660-4CDD-8A20-B2006F1D0368}"/>
              </a:ext>
            </a:extLst>
          </p:cNvPr>
          <p:cNvSpPr txBox="1">
            <a:spLocks/>
          </p:cNvSpPr>
          <p:nvPr/>
        </p:nvSpPr>
        <p:spPr>
          <a:xfrm>
            <a:off x="15601950" y="658160"/>
            <a:ext cx="8782050" cy="2294589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4800" b="1">
                <a:solidFill>
                  <a:srgbClr val="F44F1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O Planejamento da Abraceel </a:t>
            </a:r>
            <a:br>
              <a:rPr lang="pt-BR" sz="4800" b="1">
                <a:solidFill>
                  <a:srgbClr val="F44F1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lang="pt-BR" sz="4800" b="1">
                <a:solidFill>
                  <a:srgbClr val="F44F1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022-2025 começou em </a:t>
            </a:r>
            <a:br>
              <a:rPr lang="pt-BR" sz="4800" b="1">
                <a:solidFill>
                  <a:srgbClr val="F44F1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lang="pt-BR" sz="4800" b="1">
                <a:solidFill>
                  <a:srgbClr val="F44F1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gosto de 2021!</a:t>
            </a:r>
          </a:p>
        </p:txBody>
      </p:sp>
      <p:pic>
        <p:nvPicPr>
          <p:cNvPr id="3" name="Imagem 2" descr="Mulher segurando um computador portátil&#10;&#10;Descrição gerada automaticamente">
            <a:extLst>
              <a:ext uri="{FF2B5EF4-FFF2-40B4-BE49-F238E27FC236}">
                <a16:creationId xmlns:a16="http://schemas.microsoft.com/office/drawing/2014/main" xmlns="" id="{159A88C0-381E-4C41-A6CF-459C9515575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566" r="11832"/>
          <a:stretch/>
        </p:blipFill>
        <p:spPr>
          <a:xfrm>
            <a:off x="0" y="0"/>
            <a:ext cx="14573250" cy="135636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9" name="Título 1">
            <a:extLst>
              <a:ext uri="{FF2B5EF4-FFF2-40B4-BE49-F238E27FC236}">
                <a16:creationId xmlns:a16="http://schemas.microsoft.com/office/drawing/2014/main" xmlns="" id="{6F354F74-5F6D-481C-8E7B-71D8E6494236}"/>
              </a:ext>
            </a:extLst>
          </p:cNvPr>
          <p:cNvSpPr txBox="1">
            <a:spLocks/>
          </p:cNvSpPr>
          <p:nvPr/>
        </p:nvSpPr>
        <p:spPr>
          <a:xfrm>
            <a:off x="15087600" y="3620397"/>
            <a:ext cx="8782050" cy="2294589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pt-BR" sz="4800" b="1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ntrevistas realizadas pela Diretoria com os associados...</a:t>
            </a:r>
          </a:p>
        </p:txBody>
      </p:sp>
      <p:pic>
        <p:nvPicPr>
          <p:cNvPr id="12" name="Imagem 11">
            <a:extLst>
              <a:ext uri="{FF2B5EF4-FFF2-40B4-BE49-F238E27FC236}">
                <a16:creationId xmlns:a16="http://schemas.microsoft.com/office/drawing/2014/main" xmlns="" id="{0D83CCF6-4E60-49D4-88B3-9710A048894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963900" y="6167905"/>
            <a:ext cx="8267700" cy="65805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78505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26" presetClass="emph" presetSubtype="0" repeatCount="3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" dur="1000" tmFilter="0, 0; .2, .5; .8, .5; 1, 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9" dur="500" autoRev="1" fill="hold"/>
                                        <p:tgtEl>
                                          <p:spTgt spid="2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0" presetID="22" presetClass="entr" presetSubtype="8" fill="hold" nodeType="withEffect">
                                  <p:stCondLst>
                                    <p:cond delay="32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1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1" presetClass="entr" presetSubtype="1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8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/>
      <p:bldP spid="27" grpId="1"/>
      <p:bldP spid="9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Interface gráfica do usuário&#10;&#10;Descrição gerada automaticamente">
            <a:extLst>
              <a:ext uri="{FF2B5EF4-FFF2-40B4-BE49-F238E27FC236}">
                <a16:creationId xmlns:a16="http://schemas.microsoft.com/office/drawing/2014/main" xmlns="" id="{F4E2D3B8-2B5F-4B78-861A-A945C70B5FB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4384000" cy="13716000"/>
          </a:xfrm>
          <a:prstGeom prst="rect">
            <a:avLst/>
          </a:prstGeom>
        </p:spPr>
      </p:pic>
      <p:sp>
        <p:nvSpPr>
          <p:cNvPr id="7" name="CaixaDeTexto 6">
            <a:extLst>
              <a:ext uri="{FF2B5EF4-FFF2-40B4-BE49-F238E27FC236}">
                <a16:creationId xmlns:a16="http://schemas.microsoft.com/office/drawing/2014/main" xmlns="" id="{9897C4A4-D3A6-4B65-B2CD-0C77ABFC92BD}"/>
              </a:ext>
            </a:extLst>
          </p:cNvPr>
          <p:cNvSpPr txBox="1"/>
          <p:nvPr/>
        </p:nvSpPr>
        <p:spPr>
          <a:xfrm>
            <a:off x="1" y="9760222"/>
            <a:ext cx="24384000" cy="3104009"/>
          </a:xfrm>
          <a:prstGeom prst="rect">
            <a:avLst/>
          </a:prstGeom>
          <a:solidFill>
            <a:schemeClr val="accent1">
              <a:lumMod val="50000"/>
              <a:alpha val="70000"/>
            </a:schemeClr>
          </a:solidFill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36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4" name="Conector reto 3">
            <a:extLst>
              <a:ext uri="{FF2B5EF4-FFF2-40B4-BE49-F238E27FC236}">
                <a16:creationId xmlns:a16="http://schemas.microsoft.com/office/drawing/2014/main" xmlns="" id="{A4294895-D021-4753-AE56-C39809FA867B}"/>
              </a:ext>
            </a:extLst>
          </p:cNvPr>
          <p:cNvCxnSpPr>
            <a:cxnSpLocks/>
          </p:cNvCxnSpPr>
          <p:nvPr/>
        </p:nvCxnSpPr>
        <p:spPr>
          <a:xfrm>
            <a:off x="19463694" y="10237304"/>
            <a:ext cx="0" cy="2337659"/>
          </a:xfrm>
          <a:prstGeom prst="line">
            <a:avLst/>
          </a:prstGeom>
          <a:noFill/>
          <a:ln w="63500" cap="flat">
            <a:solidFill>
              <a:srgbClr val="F44F15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5" name="CaixaDeTexto 4">
            <a:extLst>
              <a:ext uri="{FF2B5EF4-FFF2-40B4-BE49-F238E27FC236}">
                <a16:creationId xmlns:a16="http://schemas.microsoft.com/office/drawing/2014/main" xmlns="" id="{37B6C797-184E-47B5-811C-282ADB24EBE4}"/>
              </a:ext>
            </a:extLst>
          </p:cNvPr>
          <p:cNvSpPr txBox="1"/>
          <p:nvPr/>
        </p:nvSpPr>
        <p:spPr>
          <a:xfrm>
            <a:off x="11704086" y="9696400"/>
            <a:ext cx="7164186" cy="3231652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algn="r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6600" b="1">
                <a:solidFill>
                  <a:srgbClr val="F44F15"/>
                </a:solidFill>
              </a:rPr>
              <a:t>Mecanismos de </a:t>
            </a:r>
          </a:p>
          <a:p>
            <a:pPr marL="0" marR="0" indent="0" algn="r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6600" b="1">
                <a:solidFill>
                  <a:srgbClr val="F44F15"/>
                </a:solidFill>
              </a:rPr>
              <a:t>Formação de Preços</a:t>
            </a: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xmlns="" id="{58137A4D-60DC-4478-9F25-D3C8142F902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68273" y="9512226"/>
            <a:ext cx="3600000" cy="36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2583652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lipse 16">
            <a:extLst>
              <a:ext uri="{FF2B5EF4-FFF2-40B4-BE49-F238E27FC236}">
                <a16:creationId xmlns:a16="http://schemas.microsoft.com/office/drawing/2014/main" xmlns="" id="{2079E4CD-B967-4243-BC00-E4DB61D5F161}"/>
              </a:ext>
            </a:extLst>
          </p:cNvPr>
          <p:cNvSpPr/>
          <p:nvPr/>
        </p:nvSpPr>
        <p:spPr>
          <a:xfrm>
            <a:off x="5153686" y="2495550"/>
            <a:ext cx="14076628" cy="8724901"/>
          </a:xfrm>
          <a:prstGeom prst="ellipse">
            <a:avLst/>
          </a:prstGeom>
          <a:solidFill>
            <a:schemeClr val="bg1">
              <a:lumMod val="95000"/>
            </a:schemeClr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" name="Elipse 6">
            <a:extLst>
              <a:ext uri="{FF2B5EF4-FFF2-40B4-BE49-F238E27FC236}">
                <a16:creationId xmlns:a16="http://schemas.microsoft.com/office/drawing/2014/main" xmlns="" id="{2CC75E1B-60A6-4051-8C30-0131D9465715}"/>
              </a:ext>
            </a:extLst>
          </p:cNvPr>
          <p:cNvSpPr/>
          <p:nvPr/>
        </p:nvSpPr>
        <p:spPr>
          <a:xfrm>
            <a:off x="6391275" y="3771900"/>
            <a:ext cx="11601450" cy="6172200"/>
          </a:xfrm>
          <a:prstGeom prst="ellipse">
            <a:avLst/>
          </a:prstGeom>
          <a:solidFill>
            <a:srgbClr val="FFFFFF"/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graphicFrame>
        <p:nvGraphicFramePr>
          <p:cNvPr id="5" name="Objeto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40" name="Slide do think-cell" r:id="rId5" imgW="501" imgH="502" progId="TCLayout.ActiveDocument.1">
                  <p:embed/>
                </p:oleObj>
              </mc:Choice>
              <mc:Fallback>
                <p:oleObj name="Slide do think-cell" r:id="rId5" imgW="501" imgH="502" progId="TCLayout.ActiveDocument.1">
                  <p:embed/>
                  <p:pic>
                    <p:nvPicPr>
                      <p:cNvPr id="5" name="Objeto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ângulo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317500" cy="3175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pt-BR" sz="1400">
              <a:sym typeface="+mn-lt"/>
            </a:endParaRPr>
          </a:p>
        </p:txBody>
      </p:sp>
      <p:pic>
        <p:nvPicPr>
          <p:cNvPr id="10" name="Imagem 9">
            <a:extLst>
              <a:ext uri="{FF2B5EF4-FFF2-40B4-BE49-F238E27FC236}">
                <a16:creationId xmlns:a16="http://schemas.microsoft.com/office/drawing/2014/main" xmlns="" id="{99473BF9-C369-4BD3-A630-7BF04FDDF9C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424081">
            <a:off x="802005" y="395522"/>
            <a:ext cx="5400000" cy="30375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1" name="Imagem 10">
            <a:extLst>
              <a:ext uri="{FF2B5EF4-FFF2-40B4-BE49-F238E27FC236}">
                <a16:creationId xmlns:a16="http://schemas.microsoft.com/office/drawing/2014/main" xmlns="" id="{A173CD2F-71F9-44D2-ACC8-300E60ECD53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rot="701113">
            <a:off x="7232979" y="443314"/>
            <a:ext cx="5400000" cy="30375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" name="Imagem 2">
            <a:extLst>
              <a:ext uri="{FF2B5EF4-FFF2-40B4-BE49-F238E27FC236}">
                <a16:creationId xmlns:a16="http://schemas.microsoft.com/office/drawing/2014/main" xmlns="" id="{E3E98972-7F02-4A29-AB42-6A85EC5484F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879415" y="5267176"/>
            <a:ext cx="5656262" cy="3181647"/>
          </a:xfrm>
          <a:prstGeom prst="rect">
            <a:avLst/>
          </a:prstGeom>
        </p:spPr>
      </p:pic>
      <p:pic>
        <p:nvPicPr>
          <p:cNvPr id="6" name="Imagem 5">
            <a:extLst>
              <a:ext uri="{FF2B5EF4-FFF2-40B4-BE49-F238E27FC236}">
                <a16:creationId xmlns:a16="http://schemas.microsoft.com/office/drawing/2014/main" xmlns="" id="{D9BB5A84-DD4C-4275-9891-26614AE5332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 rot="400729">
            <a:off x="543462" y="4686283"/>
            <a:ext cx="6342855" cy="356785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8" name="Imagem 7">
            <a:extLst>
              <a:ext uri="{FF2B5EF4-FFF2-40B4-BE49-F238E27FC236}">
                <a16:creationId xmlns:a16="http://schemas.microsoft.com/office/drawing/2014/main" xmlns="" id="{4878F557-FDA1-49D7-A7BD-DAED768466CB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 rot="724573">
            <a:off x="13168384" y="798504"/>
            <a:ext cx="5400000" cy="30375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0" name="Imagem 19">
            <a:extLst>
              <a:ext uri="{FF2B5EF4-FFF2-40B4-BE49-F238E27FC236}">
                <a16:creationId xmlns:a16="http://schemas.microsoft.com/office/drawing/2014/main" xmlns="" id="{6D2C0BDA-B982-49D9-985C-1230BA88F243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 rot="765264">
            <a:off x="19249781" y="1753636"/>
            <a:ext cx="5400000" cy="30375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1" name="Imagem 20">
            <a:extLst>
              <a:ext uri="{FF2B5EF4-FFF2-40B4-BE49-F238E27FC236}">
                <a16:creationId xmlns:a16="http://schemas.microsoft.com/office/drawing/2014/main" xmlns="" id="{2902B8CD-2192-4ED1-ABC0-D738FBB20F90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 rot="168825">
            <a:off x="17009982" y="5301009"/>
            <a:ext cx="6012852" cy="338222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2" name="Imagem 21">
            <a:extLst>
              <a:ext uri="{FF2B5EF4-FFF2-40B4-BE49-F238E27FC236}">
                <a16:creationId xmlns:a16="http://schemas.microsoft.com/office/drawing/2014/main" xmlns="" id="{1BA5C0CD-29A8-4D58-85ED-119F11024F4E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 rot="20889869">
            <a:off x="8147980" y="9476258"/>
            <a:ext cx="6880712" cy="38704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3" name="Imagem 22">
            <a:extLst>
              <a:ext uri="{FF2B5EF4-FFF2-40B4-BE49-F238E27FC236}">
                <a16:creationId xmlns:a16="http://schemas.microsoft.com/office/drawing/2014/main" xmlns="" id="{3BBE8710-BE99-42F7-B1EF-D87879ECBDFA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357507" y="9386458"/>
            <a:ext cx="7149807" cy="402176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4" name="Imagem 23">
            <a:extLst>
              <a:ext uri="{FF2B5EF4-FFF2-40B4-BE49-F238E27FC236}">
                <a16:creationId xmlns:a16="http://schemas.microsoft.com/office/drawing/2014/main" xmlns="" id="{2CF8A262-4D37-486D-9703-074995409059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 rot="557270">
            <a:off x="15009838" y="9047094"/>
            <a:ext cx="7340274" cy="412890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6" name="Título 25">
            <a:extLst>
              <a:ext uri="{FF2B5EF4-FFF2-40B4-BE49-F238E27FC236}">
                <a16:creationId xmlns:a16="http://schemas.microsoft.com/office/drawing/2014/main" xmlns="" id="{2210BF01-D2FF-4683-A587-8CD86E9224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27919408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to 11" hidden="1">
            <a:extLst>
              <a:ext uri="{FF2B5EF4-FFF2-40B4-BE49-F238E27FC236}">
                <a16:creationId xmlns:a16="http://schemas.microsoft.com/office/drawing/2014/main" xmlns="" id="{23A450B0-2B61-4D20-94CA-45F5673B6D4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64" name="Slide do think-cell" r:id="rId4" imgW="425" imgH="426" progId="TCLayout.ActiveDocument.1">
                  <p:embed/>
                </p:oleObj>
              </mc:Choice>
              <mc:Fallback>
                <p:oleObj name="Slide do think-cell" r:id="rId4" imgW="425" imgH="426" progId="TCLayout.ActiveDocument.1">
                  <p:embed/>
                  <p:pic>
                    <p:nvPicPr>
                      <p:cNvPr id="12" name="Objeto 11" hidden="1">
                        <a:extLst>
                          <a:ext uri="{FF2B5EF4-FFF2-40B4-BE49-F238E27FC236}">
                            <a16:creationId xmlns:a16="http://schemas.microsoft.com/office/drawing/2014/main" xmlns="" id="{23A450B0-2B61-4D20-94CA-45F5673B6D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ângulo 3">
            <a:extLst>
              <a:ext uri="{FF2B5EF4-FFF2-40B4-BE49-F238E27FC236}">
                <a16:creationId xmlns:a16="http://schemas.microsoft.com/office/drawing/2014/main" xmlns="" id="{B406B8EB-D201-4202-89C9-C43BAD60890B}"/>
              </a:ext>
            </a:extLst>
          </p:cNvPr>
          <p:cNvSpPr/>
          <p:nvPr/>
        </p:nvSpPr>
        <p:spPr>
          <a:xfrm>
            <a:off x="16384624" y="1265635"/>
            <a:ext cx="6804000" cy="12022169"/>
          </a:xfrm>
          <a:prstGeom prst="rect">
            <a:avLst/>
          </a:prstGeom>
          <a:solidFill>
            <a:srgbClr val="C00000"/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" name="Retângulo 2">
            <a:extLst>
              <a:ext uri="{FF2B5EF4-FFF2-40B4-BE49-F238E27FC236}">
                <a16:creationId xmlns:a16="http://schemas.microsoft.com/office/drawing/2014/main" xmlns="" id="{957D6125-2D19-49DE-9EFC-9B6BE4D99F0A}"/>
              </a:ext>
            </a:extLst>
          </p:cNvPr>
          <p:cNvSpPr/>
          <p:nvPr/>
        </p:nvSpPr>
        <p:spPr>
          <a:xfrm>
            <a:off x="978589" y="1265635"/>
            <a:ext cx="7920000" cy="12022169"/>
          </a:xfrm>
          <a:prstGeom prst="rect">
            <a:avLst/>
          </a:prstGeom>
          <a:solidFill>
            <a:srgbClr val="203864"/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sngStrike" cap="none" spc="0" normalizeH="0" baseline="0">
              <a:ln>
                <a:noFill/>
              </a:ln>
              <a:solidFill>
                <a:srgbClr val="FF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" name="Retângulo 5">
            <a:extLst>
              <a:ext uri="{FF2B5EF4-FFF2-40B4-BE49-F238E27FC236}">
                <a16:creationId xmlns:a16="http://schemas.microsoft.com/office/drawing/2014/main" xmlns="" id="{91487936-7E89-440C-B1B2-E194D615BC7E}"/>
              </a:ext>
            </a:extLst>
          </p:cNvPr>
          <p:cNvSpPr/>
          <p:nvPr/>
        </p:nvSpPr>
        <p:spPr>
          <a:xfrm>
            <a:off x="8990923" y="1265635"/>
            <a:ext cx="7308000" cy="12022169"/>
          </a:xfrm>
          <a:prstGeom prst="rect">
            <a:avLst/>
          </a:prstGeom>
          <a:solidFill>
            <a:srgbClr val="548235"/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" name="Elipse 3">
            <a:extLst>
              <a:ext uri="{FF2B5EF4-FFF2-40B4-BE49-F238E27FC236}">
                <a16:creationId xmlns:a16="http://schemas.microsoft.com/office/drawing/2014/main" xmlns="" id="{68090F76-232A-44DB-A362-A7DBBFA51D0C}"/>
              </a:ext>
            </a:extLst>
          </p:cNvPr>
          <p:cNvSpPr/>
          <p:nvPr/>
        </p:nvSpPr>
        <p:spPr>
          <a:xfrm>
            <a:off x="16463973" y="1602543"/>
            <a:ext cx="1407557" cy="1292661"/>
          </a:xfrm>
          <a:custGeom>
            <a:avLst/>
            <a:gdLst>
              <a:gd name="connsiteX0" fmla="*/ 0 w 3233132"/>
              <a:gd name="connsiteY0" fmla="*/ 1591757 h 3183514"/>
              <a:gd name="connsiteX1" fmla="*/ 1616566 w 3233132"/>
              <a:gd name="connsiteY1" fmla="*/ 0 h 3183514"/>
              <a:gd name="connsiteX2" fmla="*/ 3233132 w 3233132"/>
              <a:gd name="connsiteY2" fmla="*/ 1591757 h 3183514"/>
              <a:gd name="connsiteX3" fmla="*/ 1616566 w 3233132"/>
              <a:gd name="connsiteY3" fmla="*/ 3183514 h 3183514"/>
              <a:gd name="connsiteX4" fmla="*/ 0 w 3233132"/>
              <a:gd name="connsiteY4" fmla="*/ 1591757 h 3183514"/>
              <a:gd name="connsiteX0" fmla="*/ 4861 w 3237993"/>
              <a:gd name="connsiteY0" fmla="*/ 1485431 h 3077188"/>
              <a:gd name="connsiteX1" fmla="*/ 1281185 w 3237993"/>
              <a:gd name="connsiteY1" fmla="*/ 0 h 3077188"/>
              <a:gd name="connsiteX2" fmla="*/ 3237993 w 3237993"/>
              <a:gd name="connsiteY2" fmla="*/ 1485431 h 3077188"/>
              <a:gd name="connsiteX3" fmla="*/ 1621427 w 3237993"/>
              <a:gd name="connsiteY3" fmla="*/ 3077188 h 3077188"/>
              <a:gd name="connsiteX4" fmla="*/ 4861 w 3237993"/>
              <a:gd name="connsiteY4" fmla="*/ 1485431 h 3077188"/>
              <a:gd name="connsiteX0" fmla="*/ 4861 w 3237993"/>
              <a:gd name="connsiteY0" fmla="*/ 1485431 h 2885802"/>
              <a:gd name="connsiteX1" fmla="*/ 1281185 w 3237993"/>
              <a:gd name="connsiteY1" fmla="*/ 0 h 2885802"/>
              <a:gd name="connsiteX2" fmla="*/ 3237993 w 3237993"/>
              <a:gd name="connsiteY2" fmla="*/ 1485431 h 2885802"/>
              <a:gd name="connsiteX3" fmla="*/ 1621427 w 3237993"/>
              <a:gd name="connsiteY3" fmla="*/ 2885802 h 2885802"/>
              <a:gd name="connsiteX4" fmla="*/ 4861 w 3237993"/>
              <a:gd name="connsiteY4" fmla="*/ 1485431 h 2885802"/>
              <a:gd name="connsiteX0" fmla="*/ 2785 w 3065796"/>
              <a:gd name="connsiteY0" fmla="*/ 1485446 h 2885827"/>
              <a:gd name="connsiteX1" fmla="*/ 1279109 w 3065796"/>
              <a:gd name="connsiteY1" fmla="*/ 15 h 2885827"/>
              <a:gd name="connsiteX2" fmla="*/ 3065796 w 3065796"/>
              <a:gd name="connsiteY2" fmla="*/ 1464180 h 2885827"/>
              <a:gd name="connsiteX3" fmla="*/ 1619351 w 3065796"/>
              <a:gd name="connsiteY3" fmla="*/ 2885817 h 2885827"/>
              <a:gd name="connsiteX4" fmla="*/ 2785 w 3065796"/>
              <a:gd name="connsiteY4" fmla="*/ 1485446 h 28858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65796" h="2885827">
                <a:moveTo>
                  <a:pt x="2785" y="1485446"/>
                </a:moveTo>
                <a:cubicBezTo>
                  <a:pt x="-53922" y="1004479"/>
                  <a:pt x="768607" y="3559"/>
                  <a:pt x="1279109" y="15"/>
                </a:cubicBezTo>
                <a:cubicBezTo>
                  <a:pt x="1789611" y="-3529"/>
                  <a:pt x="3065796" y="585077"/>
                  <a:pt x="3065796" y="1464180"/>
                </a:cubicBezTo>
                <a:cubicBezTo>
                  <a:pt x="3065796" y="2343283"/>
                  <a:pt x="2129853" y="2882273"/>
                  <a:pt x="1619351" y="2885817"/>
                </a:cubicBezTo>
                <a:cubicBezTo>
                  <a:pt x="1108849" y="2889361"/>
                  <a:pt x="59492" y="1966413"/>
                  <a:pt x="2785" y="1485446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  <a:alpha val="50000"/>
            </a:schemeClr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2" name="Elipse 3">
            <a:extLst>
              <a:ext uri="{FF2B5EF4-FFF2-40B4-BE49-F238E27FC236}">
                <a16:creationId xmlns:a16="http://schemas.microsoft.com/office/drawing/2014/main" xmlns="" id="{02576D6E-18AF-44A6-B706-41D8632DE102}"/>
              </a:ext>
            </a:extLst>
          </p:cNvPr>
          <p:cNvSpPr/>
          <p:nvPr/>
        </p:nvSpPr>
        <p:spPr>
          <a:xfrm>
            <a:off x="9084178" y="1602543"/>
            <a:ext cx="1407557" cy="1292661"/>
          </a:xfrm>
          <a:custGeom>
            <a:avLst/>
            <a:gdLst>
              <a:gd name="connsiteX0" fmla="*/ 0 w 3233132"/>
              <a:gd name="connsiteY0" fmla="*/ 1591757 h 3183514"/>
              <a:gd name="connsiteX1" fmla="*/ 1616566 w 3233132"/>
              <a:gd name="connsiteY1" fmla="*/ 0 h 3183514"/>
              <a:gd name="connsiteX2" fmla="*/ 3233132 w 3233132"/>
              <a:gd name="connsiteY2" fmla="*/ 1591757 h 3183514"/>
              <a:gd name="connsiteX3" fmla="*/ 1616566 w 3233132"/>
              <a:gd name="connsiteY3" fmla="*/ 3183514 h 3183514"/>
              <a:gd name="connsiteX4" fmla="*/ 0 w 3233132"/>
              <a:gd name="connsiteY4" fmla="*/ 1591757 h 3183514"/>
              <a:gd name="connsiteX0" fmla="*/ 4861 w 3237993"/>
              <a:gd name="connsiteY0" fmla="*/ 1485431 h 3077188"/>
              <a:gd name="connsiteX1" fmla="*/ 1281185 w 3237993"/>
              <a:gd name="connsiteY1" fmla="*/ 0 h 3077188"/>
              <a:gd name="connsiteX2" fmla="*/ 3237993 w 3237993"/>
              <a:gd name="connsiteY2" fmla="*/ 1485431 h 3077188"/>
              <a:gd name="connsiteX3" fmla="*/ 1621427 w 3237993"/>
              <a:gd name="connsiteY3" fmla="*/ 3077188 h 3077188"/>
              <a:gd name="connsiteX4" fmla="*/ 4861 w 3237993"/>
              <a:gd name="connsiteY4" fmla="*/ 1485431 h 3077188"/>
              <a:gd name="connsiteX0" fmla="*/ 4861 w 3237993"/>
              <a:gd name="connsiteY0" fmla="*/ 1485431 h 2885802"/>
              <a:gd name="connsiteX1" fmla="*/ 1281185 w 3237993"/>
              <a:gd name="connsiteY1" fmla="*/ 0 h 2885802"/>
              <a:gd name="connsiteX2" fmla="*/ 3237993 w 3237993"/>
              <a:gd name="connsiteY2" fmla="*/ 1485431 h 2885802"/>
              <a:gd name="connsiteX3" fmla="*/ 1621427 w 3237993"/>
              <a:gd name="connsiteY3" fmla="*/ 2885802 h 2885802"/>
              <a:gd name="connsiteX4" fmla="*/ 4861 w 3237993"/>
              <a:gd name="connsiteY4" fmla="*/ 1485431 h 2885802"/>
              <a:gd name="connsiteX0" fmla="*/ 2785 w 3065796"/>
              <a:gd name="connsiteY0" fmla="*/ 1485446 h 2885827"/>
              <a:gd name="connsiteX1" fmla="*/ 1279109 w 3065796"/>
              <a:gd name="connsiteY1" fmla="*/ 15 h 2885827"/>
              <a:gd name="connsiteX2" fmla="*/ 3065796 w 3065796"/>
              <a:gd name="connsiteY2" fmla="*/ 1464180 h 2885827"/>
              <a:gd name="connsiteX3" fmla="*/ 1619351 w 3065796"/>
              <a:gd name="connsiteY3" fmla="*/ 2885817 h 2885827"/>
              <a:gd name="connsiteX4" fmla="*/ 2785 w 3065796"/>
              <a:gd name="connsiteY4" fmla="*/ 1485446 h 28858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65796" h="2885827">
                <a:moveTo>
                  <a:pt x="2785" y="1485446"/>
                </a:moveTo>
                <a:cubicBezTo>
                  <a:pt x="-53922" y="1004479"/>
                  <a:pt x="768607" y="3559"/>
                  <a:pt x="1279109" y="15"/>
                </a:cubicBezTo>
                <a:cubicBezTo>
                  <a:pt x="1789611" y="-3529"/>
                  <a:pt x="3065796" y="585077"/>
                  <a:pt x="3065796" y="1464180"/>
                </a:cubicBezTo>
                <a:cubicBezTo>
                  <a:pt x="3065796" y="2343283"/>
                  <a:pt x="2129853" y="2882273"/>
                  <a:pt x="1619351" y="2885817"/>
                </a:cubicBezTo>
                <a:cubicBezTo>
                  <a:pt x="1108849" y="2889361"/>
                  <a:pt x="59492" y="1966413"/>
                  <a:pt x="2785" y="1485446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  <a:alpha val="50000"/>
            </a:schemeClr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7" name="Conector reto 6">
            <a:extLst>
              <a:ext uri="{FF2B5EF4-FFF2-40B4-BE49-F238E27FC236}">
                <a16:creationId xmlns:a16="http://schemas.microsoft.com/office/drawing/2014/main" xmlns="" id="{6A86C0E7-E169-4F16-A6BD-113F5E8C9456}"/>
              </a:ext>
            </a:extLst>
          </p:cNvPr>
          <p:cNvCxnSpPr>
            <a:cxnSpLocks/>
          </p:cNvCxnSpPr>
          <p:nvPr/>
        </p:nvCxnSpPr>
        <p:spPr>
          <a:xfrm>
            <a:off x="2695049" y="1360759"/>
            <a:ext cx="0" cy="2709223"/>
          </a:xfrm>
          <a:prstGeom prst="line">
            <a:avLst/>
          </a:prstGeom>
          <a:noFill/>
          <a:ln w="63500" cap="flat">
            <a:solidFill>
              <a:schemeClr val="bg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8" name="CaixaDeTexto 7">
            <a:extLst>
              <a:ext uri="{FF2B5EF4-FFF2-40B4-BE49-F238E27FC236}">
                <a16:creationId xmlns:a16="http://schemas.microsoft.com/office/drawing/2014/main" xmlns="" id="{477E6566-738D-4C9B-84FD-10FE170142EC}"/>
              </a:ext>
            </a:extLst>
          </p:cNvPr>
          <p:cNvSpPr txBox="1"/>
          <p:nvPr/>
        </p:nvSpPr>
        <p:spPr>
          <a:xfrm>
            <a:off x="2905933" y="1360759"/>
            <a:ext cx="5379505" cy="3970316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6000" b="1">
                <a:solidFill>
                  <a:schemeClr val="bg1"/>
                </a:solidFill>
              </a:rPr>
              <a:t>Abertura do Mercado para o Consumidor</a:t>
            </a:r>
          </a:p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6600" i="1">
                <a:solidFill>
                  <a:schemeClr val="accent1">
                    <a:lumMod val="40000"/>
                    <a:lumOff val="60000"/>
                  </a:schemeClr>
                </a:solidFill>
              </a:rPr>
              <a:t>36%</a:t>
            </a:r>
            <a:endParaRPr kumimoji="0" lang="pt-BR" sz="6600" i="1" u="none" strike="noStrike" cap="none" spc="0" normalizeH="0" baseline="0">
              <a:ln>
                <a:noFill/>
              </a:ln>
              <a:solidFill>
                <a:schemeClr val="accent1">
                  <a:lumMod val="40000"/>
                  <a:lumOff val="60000"/>
                </a:schemeClr>
              </a:solidFill>
              <a:effectLst/>
              <a:uFillTx/>
              <a:sym typeface="Calibri"/>
            </a:endParaRPr>
          </a:p>
        </p:txBody>
      </p:sp>
      <p:sp>
        <p:nvSpPr>
          <p:cNvPr id="10" name="Elipse 3">
            <a:extLst>
              <a:ext uri="{FF2B5EF4-FFF2-40B4-BE49-F238E27FC236}">
                <a16:creationId xmlns:a16="http://schemas.microsoft.com/office/drawing/2014/main" xmlns="" id="{3807644B-77CA-4DEE-9C72-3157C37BD36F}"/>
              </a:ext>
            </a:extLst>
          </p:cNvPr>
          <p:cNvSpPr/>
          <p:nvPr/>
        </p:nvSpPr>
        <p:spPr>
          <a:xfrm>
            <a:off x="1195158" y="1618077"/>
            <a:ext cx="1407557" cy="1292661"/>
          </a:xfrm>
          <a:custGeom>
            <a:avLst/>
            <a:gdLst>
              <a:gd name="connsiteX0" fmla="*/ 0 w 3233132"/>
              <a:gd name="connsiteY0" fmla="*/ 1591757 h 3183514"/>
              <a:gd name="connsiteX1" fmla="*/ 1616566 w 3233132"/>
              <a:gd name="connsiteY1" fmla="*/ 0 h 3183514"/>
              <a:gd name="connsiteX2" fmla="*/ 3233132 w 3233132"/>
              <a:gd name="connsiteY2" fmla="*/ 1591757 h 3183514"/>
              <a:gd name="connsiteX3" fmla="*/ 1616566 w 3233132"/>
              <a:gd name="connsiteY3" fmla="*/ 3183514 h 3183514"/>
              <a:gd name="connsiteX4" fmla="*/ 0 w 3233132"/>
              <a:gd name="connsiteY4" fmla="*/ 1591757 h 3183514"/>
              <a:gd name="connsiteX0" fmla="*/ 4861 w 3237993"/>
              <a:gd name="connsiteY0" fmla="*/ 1485431 h 3077188"/>
              <a:gd name="connsiteX1" fmla="*/ 1281185 w 3237993"/>
              <a:gd name="connsiteY1" fmla="*/ 0 h 3077188"/>
              <a:gd name="connsiteX2" fmla="*/ 3237993 w 3237993"/>
              <a:gd name="connsiteY2" fmla="*/ 1485431 h 3077188"/>
              <a:gd name="connsiteX3" fmla="*/ 1621427 w 3237993"/>
              <a:gd name="connsiteY3" fmla="*/ 3077188 h 3077188"/>
              <a:gd name="connsiteX4" fmla="*/ 4861 w 3237993"/>
              <a:gd name="connsiteY4" fmla="*/ 1485431 h 3077188"/>
              <a:gd name="connsiteX0" fmla="*/ 4861 w 3237993"/>
              <a:gd name="connsiteY0" fmla="*/ 1485431 h 2885802"/>
              <a:gd name="connsiteX1" fmla="*/ 1281185 w 3237993"/>
              <a:gd name="connsiteY1" fmla="*/ 0 h 2885802"/>
              <a:gd name="connsiteX2" fmla="*/ 3237993 w 3237993"/>
              <a:gd name="connsiteY2" fmla="*/ 1485431 h 2885802"/>
              <a:gd name="connsiteX3" fmla="*/ 1621427 w 3237993"/>
              <a:gd name="connsiteY3" fmla="*/ 2885802 h 2885802"/>
              <a:gd name="connsiteX4" fmla="*/ 4861 w 3237993"/>
              <a:gd name="connsiteY4" fmla="*/ 1485431 h 2885802"/>
              <a:gd name="connsiteX0" fmla="*/ 2785 w 3065796"/>
              <a:gd name="connsiteY0" fmla="*/ 1485446 h 2885827"/>
              <a:gd name="connsiteX1" fmla="*/ 1279109 w 3065796"/>
              <a:gd name="connsiteY1" fmla="*/ 15 h 2885827"/>
              <a:gd name="connsiteX2" fmla="*/ 3065796 w 3065796"/>
              <a:gd name="connsiteY2" fmla="*/ 1464180 h 2885827"/>
              <a:gd name="connsiteX3" fmla="*/ 1619351 w 3065796"/>
              <a:gd name="connsiteY3" fmla="*/ 2885817 h 2885827"/>
              <a:gd name="connsiteX4" fmla="*/ 2785 w 3065796"/>
              <a:gd name="connsiteY4" fmla="*/ 1485446 h 28858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65796" h="2885827">
                <a:moveTo>
                  <a:pt x="2785" y="1485446"/>
                </a:moveTo>
                <a:cubicBezTo>
                  <a:pt x="-53922" y="1004479"/>
                  <a:pt x="768607" y="3559"/>
                  <a:pt x="1279109" y="15"/>
                </a:cubicBezTo>
                <a:cubicBezTo>
                  <a:pt x="1789611" y="-3529"/>
                  <a:pt x="3065796" y="585077"/>
                  <a:pt x="3065796" y="1464180"/>
                </a:cubicBezTo>
                <a:cubicBezTo>
                  <a:pt x="3065796" y="2343283"/>
                  <a:pt x="2129853" y="2882273"/>
                  <a:pt x="1619351" y="2885817"/>
                </a:cubicBezTo>
                <a:cubicBezTo>
                  <a:pt x="1108849" y="2889361"/>
                  <a:pt x="59492" y="1966413"/>
                  <a:pt x="2785" y="1485446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  <a:alpha val="50000"/>
            </a:schemeClr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15" name="Conector reto 14">
            <a:extLst>
              <a:ext uri="{FF2B5EF4-FFF2-40B4-BE49-F238E27FC236}">
                <a16:creationId xmlns:a16="http://schemas.microsoft.com/office/drawing/2014/main" xmlns="" id="{63242E9A-D44B-4CA8-8874-AC96DCCB122E}"/>
              </a:ext>
            </a:extLst>
          </p:cNvPr>
          <p:cNvCxnSpPr>
            <a:cxnSpLocks/>
          </p:cNvCxnSpPr>
          <p:nvPr/>
        </p:nvCxnSpPr>
        <p:spPr>
          <a:xfrm>
            <a:off x="18003538" y="1360759"/>
            <a:ext cx="0" cy="2709223"/>
          </a:xfrm>
          <a:prstGeom prst="line">
            <a:avLst/>
          </a:prstGeom>
          <a:noFill/>
          <a:ln w="63500" cap="flat">
            <a:solidFill>
              <a:schemeClr val="bg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6" name="CaixaDeTexto 15">
            <a:extLst>
              <a:ext uri="{FF2B5EF4-FFF2-40B4-BE49-F238E27FC236}">
                <a16:creationId xmlns:a16="http://schemas.microsoft.com/office/drawing/2014/main" xmlns="" id="{516C924C-E3EB-47FE-AA13-8D42EFB8A3E1}"/>
              </a:ext>
            </a:extLst>
          </p:cNvPr>
          <p:cNvSpPr txBox="1"/>
          <p:nvPr/>
        </p:nvSpPr>
        <p:spPr>
          <a:xfrm>
            <a:off x="18214422" y="1360759"/>
            <a:ext cx="3830707" cy="2769987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5400" b="1">
                <a:solidFill>
                  <a:schemeClr val="bg1"/>
                </a:solidFill>
              </a:rPr>
              <a:t>Formação de Preços</a:t>
            </a:r>
          </a:p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6000" i="1">
                <a:solidFill>
                  <a:schemeClr val="accent2">
                    <a:lumMod val="40000"/>
                    <a:lumOff val="60000"/>
                  </a:schemeClr>
                </a:solidFill>
              </a:rPr>
              <a:t>31%</a:t>
            </a:r>
            <a:endParaRPr kumimoji="0" lang="pt-BR" sz="6000" i="1" u="none" strike="noStrike" cap="none" spc="0" normalizeH="0" baseline="0">
              <a:ln>
                <a:noFill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  <a:uFillTx/>
              <a:sym typeface="Calibri"/>
            </a:endParaRPr>
          </a:p>
        </p:txBody>
      </p:sp>
      <p:cxnSp>
        <p:nvCxnSpPr>
          <p:cNvPr id="19" name="Conector reto 18">
            <a:extLst>
              <a:ext uri="{FF2B5EF4-FFF2-40B4-BE49-F238E27FC236}">
                <a16:creationId xmlns:a16="http://schemas.microsoft.com/office/drawing/2014/main" xmlns="" id="{AB10DC8A-8D55-463A-A646-57FB7B5D0CD2}"/>
              </a:ext>
            </a:extLst>
          </p:cNvPr>
          <p:cNvCxnSpPr>
            <a:cxnSpLocks/>
          </p:cNvCxnSpPr>
          <p:nvPr/>
        </p:nvCxnSpPr>
        <p:spPr>
          <a:xfrm>
            <a:off x="10623743" y="1360759"/>
            <a:ext cx="0" cy="2709223"/>
          </a:xfrm>
          <a:prstGeom prst="line">
            <a:avLst/>
          </a:prstGeom>
          <a:noFill/>
          <a:ln w="63500" cap="flat">
            <a:solidFill>
              <a:schemeClr val="bg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0" name="CaixaDeTexto 19">
            <a:extLst>
              <a:ext uri="{FF2B5EF4-FFF2-40B4-BE49-F238E27FC236}">
                <a16:creationId xmlns:a16="http://schemas.microsoft.com/office/drawing/2014/main" xmlns="" id="{F6FD6F3D-A8C5-46F3-9436-F1057308DEBE}"/>
              </a:ext>
            </a:extLst>
          </p:cNvPr>
          <p:cNvSpPr txBox="1"/>
          <p:nvPr/>
        </p:nvSpPr>
        <p:spPr>
          <a:xfrm>
            <a:off x="10834627" y="1360759"/>
            <a:ext cx="3888975" cy="2769987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5400" b="1">
                <a:solidFill>
                  <a:schemeClr val="bg1"/>
                </a:solidFill>
              </a:rPr>
              <a:t>Segurança de Mercado</a:t>
            </a:r>
          </a:p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6000" i="1">
                <a:solidFill>
                  <a:schemeClr val="accent6">
                    <a:lumMod val="20000"/>
                    <a:lumOff val="80000"/>
                  </a:schemeClr>
                </a:solidFill>
              </a:rPr>
              <a:t>33%</a:t>
            </a:r>
            <a:endParaRPr kumimoji="0" lang="pt-BR" sz="6000" i="1" u="none" strike="noStrike" cap="none" spc="0" normalizeH="0" baseline="0">
              <a:ln>
                <a:noFill/>
              </a:ln>
              <a:solidFill>
                <a:schemeClr val="accent6">
                  <a:lumMod val="20000"/>
                  <a:lumOff val="80000"/>
                </a:schemeClr>
              </a:solidFill>
              <a:effectLst/>
              <a:uFillTx/>
              <a:sym typeface="Calibri"/>
            </a:endParaRPr>
          </a:p>
        </p:txBody>
      </p:sp>
      <p:pic>
        <p:nvPicPr>
          <p:cNvPr id="9" name="Imagem 8">
            <a:extLst>
              <a:ext uri="{FF2B5EF4-FFF2-40B4-BE49-F238E27FC236}">
                <a16:creationId xmlns:a16="http://schemas.microsoft.com/office/drawing/2014/main" xmlns="" id="{8B6238C2-698F-47CC-8800-A9E4BE771092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3267" y="1510964"/>
            <a:ext cx="1399774" cy="1399774"/>
          </a:xfrm>
          <a:prstGeom prst="rect">
            <a:avLst/>
          </a:prstGeom>
        </p:spPr>
      </p:pic>
      <p:pic>
        <p:nvPicPr>
          <p:cNvPr id="25" name="Imagem 24">
            <a:extLst>
              <a:ext uri="{FF2B5EF4-FFF2-40B4-BE49-F238E27FC236}">
                <a16:creationId xmlns:a16="http://schemas.microsoft.com/office/drawing/2014/main" xmlns="" id="{D341F860-8FE7-4B41-AB8F-A1C3A31B85D1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560974" y="1662661"/>
            <a:ext cx="1211049" cy="1211049"/>
          </a:xfrm>
          <a:prstGeom prst="rect">
            <a:avLst/>
          </a:prstGeom>
        </p:spPr>
      </p:pic>
      <p:pic>
        <p:nvPicPr>
          <p:cNvPr id="23" name="Imagem 22">
            <a:extLst>
              <a:ext uri="{FF2B5EF4-FFF2-40B4-BE49-F238E27FC236}">
                <a16:creationId xmlns:a16="http://schemas.microsoft.com/office/drawing/2014/main" xmlns="" id="{70994B20-38CD-423F-99FC-E535567D2A2B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76624" y="1553075"/>
            <a:ext cx="1422663" cy="1422663"/>
          </a:xfrm>
          <a:prstGeom prst="rect">
            <a:avLst/>
          </a:prstGeom>
        </p:spPr>
      </p:pic>
      <p:sp>
        <p:nvSpPr>
          <p:cNvPr id="24" name="Título 1">
            <a:extLst>
              <a:ext uri="{FF2B5EF4-FFF2-40B4-BE49-F238E27FC236}">
                <a16:creationId xmlns:a16="http://schemas.microsoft.com/office/drawing/2014/main" xmlns="" id="{6D714A12-E139-4CEB-86D8-220787FE4583}"/>
              </a:ext>
            </a:extLst>
          </p:cNvPr>
          <p:cNvSpPr txBox="1">
            <a:spLocks/>
          </p:cNvSpPr>
          <p:nvPr/>
        </p:nvSpPr>
        <p:spPr>
          <a:xfrm>
            <a:off x="550492" y="372411"/>
            <a:ext cx="24384000" cy="1316792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4800" b="1">
                <a:solidFill>
                  <a:srgbClr val="F44F1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Bandeiras ABRACEEL 2022 - 2025</a:t>
            </a:r>
          </a:p>
        </p:txBody>
      </p:sp>
    </p:spTree>
    <p:extLst>
      <p:ext uri="{BB962C8B-B14F-4D97-AF65-F5344CB8AC3E}">
        <p14:creationId xmlns:p14="http://schemas.microsoft.com/office/powerpoint/2010/main" val="337915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3" grpId="0" animBg="1"/>
      <p:bldP spid="6" grpId="0" animBg="1"/>
      <p:bldP spid="18" grpId="0" animBg="1"/>
      <p:bldP spid="22" grpId="0" animBg="1"/>
      <p:bldP spid="8" grpId="0"/>
      <p:bldP spid="10" grpId="0" animBg="1"/>
      <p:bldP spid="16" grpId="0"/>
      <p:bldP spid="20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to 11" hidden="1">
            <a:extLst>
              <a:ext uri="{FF2B5EF4-FFF2-40B4-BE49-F238E27FC236}">
                <a16:creationId xmlns:a16="http://schemas.microsoft.com/office/drawing/2014/main" xmlns="" id="{23A450B0-2B61-4D20-94CA-45F5673B6D4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88" name="Slide do think-cell" r:id="rId5" imgW="425" imgH="426" progId="TCLayout.ActiveDocument.1">
                  <p:embed/>
                </p:oleObj>
              </mc:Choice>
              <mc:Fallback>
                <p:oleObj name="Slide do think-cell" r:id="rId5" imgW="425" imgH="426" progId="TCLayout.ActiveDocument.1">
                  <p:embed/>
                  <p:pic>
                    <p:nvPicPr>
                      <p:cNvPr id="12" name="Objeto 11" hidden="1">
                        <a:extLst>
                          <a:ext uri="{FF2B5EF4-FFF2-40B4-BE49-F238E27FC236}">
                            <a16:creationId xmlns:a16="http://schemas.microsoft.com/office/drawing/2014/main" xmlns="" id="{23A450B0-2B61-4D20-94CA-45F5673B6D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ângulo 2">
            <a:extLst>
              <a:ext uri="{FF2B5EF4-FFF2-40B4-BE49-F238E27FC236}">
                <a16:creationId xmlns:a16="http://schemas.microsoft.com/office/drawing/2014/main" xmlns="" id="{957D6125-2D19-49DE-9EFC-9B6BE4D99F0A}"/>
              </a:ext>
            </a:extLst>
          </p:cNvPr>
          <p:cNvSpPr/>
          <p:nvPr/>
        </p:nvSpPr>
        <p:spPr>
          <a:xfrm>
            <a:off x="978589" y="1265635"/>
            <a:ext cx="7920000" cy="12022169"/>
          </a:xfrm>
          <a:prstGeom prst="rect">
            <a:avLst/>
          </a:prstGeom>
          <a:solidFill>
            <a:srgbClr val="203864"/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sngStrike" cap="none" spc="0" normalizeH="0" baseline="0">
              <a:ln>
                <a:noFill/>
              </a:ln>
              <a:solidFill>
                <a:srgbClr val="FF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7" name="Conector reto 6">
            <a:extLst>
              <a:ext uri="{FF2B5EF4-FFF2-40B4-BE49-F238E27FC236}">
                <a16:creationId xmlns:a16="http://schemas.microsoft.com/office/drawing/2014/main" xmlns="" id="{6A86C0E7-E169-4F16-A6BD-113F5E8C9456}"/>
              </a:ext>
            </a:extLst>
          </p:cNvPr>
          <p:cNvCxnSpPr>
            <a:cxnSpLocks/>
          </p:cNvCxnSpPr>
          <p:nvPr/>
        </p:nvCxnSpPr>
        <p:spPr>
          <a:xfrm>
            <a:off x="2695049" y="1360759"/>
            <a:ext cx="0" cy="2709223"/>
          </a:xfrm>
          <a:prstGeom prst="line">
            <a:avLst/>
          </a:prstGeom>
          <a:noFill/>
          <a:ln w="63500" cap="flat">
            <a:solidFill>
              <a:schemeClr val="bg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8" name="CaixaDeTexto 7">
            <a:extLst>
              <a:ext uri="{FF2B5EF4-FFF2-40B4-BE49-F238E27FC236}">
                <a16:creationId xmlns:a16="http://schemas.microsoft.com/office/drawing/2014/main" xmlns="" id="{477E6566-738D-4C9B-84FD-10FE170142EC}"/>
              </a:ext>
            </a:extLst>
          </p:cNvPr>
          <p:cNvSpPr txBox="1"/>
          <p:nvPr/>
        </p:nvSpPr>
        <p:spPr>
          <a:xfrm>
            <a:off x="2905933" y="1360759"/>
            <a:ext cx="5379505" cy="3970316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6000" b="1">
                <a:solidFill>
                  <a:schemeClr val="bg1"/>
                </a:solidFill>
              </a:rPr>
              <a:t>Abertura do Mercado para o Consumidor</a:t>
            </a:r>
          </a:p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6600" i="1">
                <a:solidFill>
                  <a:schemeClr val="accent1">
                    <a:lumMod val="40000"/>
                    <a:lumOff val="60000"/>
                  </a:schemeClr>
                </a:solidFill>
              </a:rPr>
              <a:t>36%</a:t>
            </a:r>
            <a:endParaRPr kumimoji="0" lang="pt-BR" sz="6600" i="1" u="none" strike="noStrike" cap="none" spc="0" normalizeH="0" baseline="0">
              <a:ln>
                <a:noFill/>
              </a:ln>
              <a:solidFill>
                <a:schemeClr val="accent1">
                  <a:lumMod val="40000"/>
                  <a:lumOff val="60000"/>
                </a:schemeClr>
              </a:solidFill>
              <a:effectLst/>
              <a:uFillTx/>
              <a:sym typeface="Calibri"/>
            </a:endParaRPr>
          </a:p>
        </p:txBody>
      </p:sp>
      <p:sp>
        <p:nvSpPr>
          <p:cNvPr id="10" name="Elipse 3">
            <a:extLst>
              <a:ext uri="{FF2B5EF4-FFF2-40B4-BE49-F238E27FC236}">
                <a16:creationId xmlns:a16="http://schemas.microsoft.com/office/drawing/2014/main" xmlns="" id="{3807644B-77CA-4DEE-9C72-3157C37BD36F}"/>
              </a:ext>
            </a:extLst>
          </p:cNvPr>
          <p:cNvSpPr/>
          <p:nvPr/>
        </p:nvSpPr>
        <p:spPr>
          <a:xfrm>
            <a:off x="1195158" y="1618077"/>
            <a:ext cx="1407557" cy="1292661"/>
          </a:xfrm>
          <a:custGeom>
            <a:avLst/>
            <a:gdLst>
              <a:gd name="connsiteX0" fmla="*/ 0 w 3233132"/>
              <a:gd name="connsiteY0" fmla="*/ 1591757 h 3183514"/>
              <a:gd name="connsiteX1" fmla="*/ 1616566 w 3233132"/>
              <a:gd name="connsiteY1" fmla="*/ 0 h 3183514"/>
              <a:gd name="connsiteX2" fmla="*/ 3233132 w 3233132"/>
              <a:gd name="connsiteY2" fmla="*/ 1591757 h 3183514"/>
              <a:gd name="connsiteX3" fmla="*/ 1616566 w 3233132"/>
              <a:gd name="connsiteY3" fmla="*/ 3183514 h 3183514"/>
              <a:gd name="connsiteX4" fmla="*/ 0 w 3233132"/>
              <a:gd name="connsiteY4" fmla="*/ 1591757 h 3183514"/>
              <a:gd name="connsiteX0" fmla="*/ 4861 w 3237993"/>
              <a:gd name="connsiteY0" fmla="*/ 1485431 h 3077188"/>
              <a:gd name="connsiteX1" fmla="*/ 1281185 w 3237993"/>
              <a:gd name="connsiteY1" fmla="*/ 0 h 3077188"/>
              <a:gd name="connsiteX2" fmla="*/ 3237993 w 3237993"/>
              <a:gd name="connsiteY2" fmla="*/ 1485431 h 3077188"/>
              <a:gd name="connsiteX3" fmla="*/ 1621427 w 3237993"/>
              <a:gd name="connsiteY3" fmla="*/ 3077188 h 3077188"/>
              <a:gd name="connsiteX4" fmla="*/ 4861 w 3237993"/>
              <a:gd name="connsiteY4" fmla="*/ 1485431 h 3077188"/>
              <a:gd name="connsiteX0" fmla="*/ 4861 w 3237993"/>
              <a:gd name="connsiteY0" fmla="*/ 1485431 h 2885802"/>
              <a:gd name="connsiteX1" fmla="*/ 1281185 w 3237993"/>
              <a:gd name="connsiteY1" fmla="*/ 0 h 2885802"/>
              <a:gd name="connsiteX2" fmla="*/ 3237993 w 3237993"/>
              <a:gd name="connsiteY2" fmla="*/ 1485431 h 2885802"/>
              <a:gd name="connsiteX3" fmla="*/ 1621427 w 3237993"/>
              <a:gd name="connsiteY3" fmla="*/ 2885802 h 2885802"/>
              <a:gd name="connsiteX4" fmla="*/ 4861 w 3237993"/>
              <a:gd name="connsiteY4" fmla="*/ 1485431 h 2885802"/>
              <a:gd name="connsiteX0" fmla="*/ 2785 w 3065796"/>
              <a:gd name="connsiteY0" fmla="*/ 1485446 h 2885827"/>
              <a:gd name="connsiteX1" fmla="*/ 1279109 w 3065796"/>
              <a:gd name="connsiteY1" fmla="*/ 15 h 2885827"/>
              <a:gd name="connsiteX2" fmla="*/ 3065796 w 3065796"/>
              <a:gd name="connsiteY2" fmla="*/ 1464180 h 2885827"/>
              <a:gd name="connsiteX3" fmla="*/ 1619351 w 3065796"/>
              <a:gd name="connsiteY3" fmla="*/ 2885817 h 2885827"/>
              <a:gd name="connsiteX4" fmla="*/ 2785 w 3065796"/>
              <a:gd name="connsiteY4" fmla="*/ 1485446 h 28858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65796" h="2885827">
                <a:moveTo>
                  <a:pt x="2785" y="1485446"/>
                </a:moveTo>
                <a:cubicBezTo>
                  <a:pt x="-53922" y="1004479"/>
                  <a:pt x="768607" y="3559"/>
                  <a:pt x="1279109" y="15"/>
                </a:cubicBezTo>
                <a:cubicBezTo>
                  <a:pt x="1789611" y="-3529"/>
                  <a:pt x="3065796" y="585077"/>
                  <a:pt x="3065796" y="1464180"/>
                </a:cubicBezTo>
                <a:cubicBezTo>
                  <a:pt x="3065796" y="2343283"/>
                  <a:pt x="2129853" y="2882273"/>
                  <a:pt x="1619351" y="2885817"/>
                </a:cubicBezTo>
                <a:cubicBezTo>
                  <a:pt x="1108849" y="2889361"/>
                  <a:pt x="59492" y="1966413"/>
                  <a:pt x="2785" y="1485446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  <a:alpha val="50000"/>
            </a:schemeClr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9" name="Imagem 8">
            <a:extLst>
              <a:ext uri="{FF2B5EF4-FFF2-40B4-BE49-F238E27FC236}">
                <a16:creationId xmlns:a16="http://schemas.microsoft.com/office/drawing/2014/main" xmlns="" id="{8B6238C2-698F-47CC-8800-A9E4BE771092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3267" y="1510964"/>
            <a:ext cx="1399774" cy="1399774"/>
          </a:xfrm>
          <a:prstGeom prst="rect">
            <a:avLst/>
          </a:prstGeom>
        </p:spPr>
      </p:pic>
      <p:sp>
        <p:nvSpPr>
          <p:cNvPr id="24" name="Título 1">
            <a:extLst>
              <a:ext uri="{FF2B5EF4-FFF2-40B4-BE49-F238E27FC236}">
                <a16:creationId xmlns:a16="http://schemas.microsoft.com/office/drawing/2014/main" xmlns="" id="{6D714A12-E139-4CEB-86D8-220787FE4583}"/>
              </a:ext>
            </a:extLst>
          </p:cNvPr>
          <p:cNvSpPr txBox="1">
            <a:spLocks/>
          </p:cNvSpPr>
          <p:nvPr/>
        </p:nvSpPr>
        <p:spPr>
          <a:xfrm>
            <a:off x="550492" y="372411"/>
            <a:ext cx="24384000" cy="1316792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4800" b="1">
                <a:solidFill>
                  <a:srgbClr val="F44F1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Bandeiras ABRACEEL 2022 - 2025</a:t>
            </a:r>
          </a:p>
        </p:txBody>
      </p:sp>
      <p:sp>
        <p:nvSpPr>
          <p:cNvPr id="2" name="Retângulo 1">
            <a:extLst>
              <a:ext uri="{FF2B5EF4-FFF2-40B4-BE49-F238E27FC236}">
                <a16:creationId xmlns:a16="http://schemas.microsoft.com/office/drawing/2014/main" xmlns="" id="{3105BBCC-DA5C-477E-86C5-B4B8C304988C}"/>
              </a:ext>
            </a:extLst>
          </p:cNvPr>
          <p:cNvSpPr/>
          <p:nvPr/>
        </p:nvSpPr>
        <p:spPr>
          <a:xfrm>
            <a:off x="8942131" y="1265634"/>
            <a:ext cx="14246711" cy="12022169"/>
          </a:xfrm>
          <a:prstGeom prst="rect">
            <a:avLst/>
          </a:prstGeom>
          <a:solidFill>
            <a:srgbClr val="FFFFFF">
              <a:alpha val="50000"/>
            </a:srgbClr>
          </a:solidFill>
          <a:ln w="25400" cap="flat">
            <a:solidFill>
              <a:srgbClr val="F44F15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514350" marR="0" indent="-51435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44F15"/>
              </a:buClr>
              <a:buSzTx/>
              <a:buFont typeface="+mj-lt"/>
              <a:buAutoNum type="arabicPeriod"/>
              <a:tabLst/>
            </a:pPr>
            <a:endParaRPr lang="pt-BR" b="1">
              <a:solidFill>
                <a:schemeClr val="tx1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1" name="Retângulo 10">
            <a:extLst>
              <a:ext uri="{FF2B5EF4-FFF2-40B4-BE49-F238E27FC236}">
                <a16:creationId xmlns:a16="http://schemas.microsoft.com/office/drawing/2014/main" xmlns="" id="{87A1D7B4-6219-4611-AFBF-8AEA190F1AFC}"/>
              </a:ext>
            </a:extLst>
          </p:cNvPr>
          <p:cNvSpPr/>
          <p:nvPr/>
        </p:nvSpPr>
        <p:spPr>
          <a:xfrm>
            <a:off x="10212783" y="1265634"/>
            <a:ext cx="12976060" cy="12022169"/>
          </a:xfrm>
          <a:prstGeom prst="rect">
            <a:avLst/>
          </a:prstGeom>
          <a:solidFill>
            <a:srgbClr val="FFFFFF">
              <a:alpha val="50000"/>
            </a:srgbClr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514350" marR="0" indent="-51435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44F15"/>
              </a:buClr>
              <a:buSzTx/>
              <a:buFont typeface="+mj-lt"/>
              <a:buAutoNum type="arabicPeriod"/>
              <a:tabLst/>
            </a:pPr>
            <a:r>
              <a:rPr kumimoji="0" lang="pt-BR" b="1" i="0" u="none" strike="noStrike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Calibri"/>
              </a:rPr>
              <a:t>Atuar de forma técnica e institucional para a abertura dos</a:t>
            </a:r>
            <a:r>
              <a:rPr kumimoji="0" lang="pt-BR" b="1" i="0" u="none" strike="noStrike" cap="none" spc="0" normalizeH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Calibri"/>
              </a:rPr>
              <a:t> mercados de energia para o consumidor.</a:t>
            </a:r>
          </a:p>
          <a:p>
            <a:pPr marL="514350" marR="0" indent="-51435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44F15"/>
              </a:buClr>
              <a:buSzTx/>
              <a:buFont typeface="+mj-lt"/>
              <a:buAutoNum type="arabicPeriod"/>
              <a:tabLst/>
            </a:pPr>
            <a:endParaRPr kumimoji="0" lang="pt-BR" b="1" i="0" u="none" strike="noStrike" cap="none" spc="0" normalizeH="0" baseline="0">
              <a:ln>
                <a:noFill/>
              </a:ln>
              <a:solidFill>
                <a:schemeClr val="tx1"/>
              </a:solidFill>
              <a:effectLst/>
              <a:uFillTx/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Calibri"/>
            </a:endParaRPr>
          </a:p>
          <a:p>
            <a:pPr marL="514350" marR="0" indent="-51435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44F15"/>
              </a:buClr>
              <a:buSzTx/>
              <a:buFont typeface="+mj-lt"/>
              <a:buAutoNum type="arabicPeriod"/>
              <a:tabLst/>
            </a:pPr>
            <a:r>
              <a:rPr kumimoji="0" lang="pt-BR" b="1" i="0" u="none" strike="noStrike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Calibri"/>
              </a:rPr>
              <a:t>Incluir o tema “abertura total do mercado de energia“ na pauta dos principais presidenciáveis.</a:t>
            </a:r>
          </a:p>
          <a:p>
            <a:pPr marL="514350" marR="0" indent="-51435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44F15"/>
              </a:buClr>
              <a:buSzTx/>
              <a:buFont typeface="+mj-lt"/>
              <a:buAutoNum type="arabicPeriod"/>
              <a:tabLst/>
            </a:pPr>
            <a:endParaRPr lang="pt-BR" b="1">
              <a:solidFill>
                <a:schemeClr val="tx1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514350" indent="-514350">
              <a:buClr>
                <a:srgbClr val="F44F15"/>
              </a:buClr>
              <a:buFont typeface="+mj-lt"/>
              <a:buAutoNum type="arabicPeriod"/>
            </a:pPr>
            <a:r>
              <a:rPr lang="pt-BR" b="1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Ampliar atuação em questões técnicas para abertura do mercado elétrico, tais como: cronograma, contratos legados, varejista e agregador.</a:t>
            </a:r>
          </a:p>
          <a:p>
            <a:pPr marL="514350" indent="-514350">
              <a:buClr>
                <a:srgbClr val="F44F15"/>
              </a:buClr>
              <a:buFont typeface="+mj-lt"/>
              <a:buAutoNum type="arabicPeriod"/>
            </a:pPr>
            <a:endParaRPr lang="pt-BR" b="1">
              <a:solidFill>
                <a:schemeClr val="tx1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514350" indent="-514350">
              <a:buClr>
                <a:srgbClr val="F44F15"/>
              </a:buClr>
              <a:buFont typeface="+mj-lt"/>
              <a:buAutoNum type="arabicPeriod"/>
            </a:pPr>
            <a:r>
              <a:rPr lang="pt-BR" b="1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Buscar o entendimento da sociedade sobre o mercado de energia, identificar os gargalos e promover ações de comunicação junto aos principais formadores de opinião.</a:t>
            </a:r>
          </a:p>
        </p:txBody>
      </p:sp>
      <p:sp>
        <p:nvSpPr>
          <p:cNvPr id="5" name="Elipse 4">
            <a:extLst>
              <a:ext uri="{FF2B5EF4-FFF2-40B4-BE49-F238E27FC236}">
                <a16:creationId xmlns:a16="http://schemas.microsoft.com/office/drawing/2014/main" xmlns="" id="{86A7E7E1-0767-4803-8713-CE78749631AC}"/>
              </a:ext>
            </a:extLst>
          </p:cNvPr>
          <p:cNvSpPr/>
          <p:nvPr/>
        </p:nvSpPr>
        <p:spPr>
          <a:xfrm>
            <a:off x="9025801" y="3701421"/>
            <a:ext cx="1165211" cy="1111014"/>
          </a:xfrm>
          <a:custGeom>
            <a:avLst/>
            <a:gdLst>
              <a:gd name="connsiteX0" fmla="*/ 0 w 1583635"/>
              <a:gd name="connsiteY0" fmla="*/ 523168 h 1046335"/>
              <a:gd name="connsiteX1" fmla="*/ 791818 w 1583635"/>
              <a:gd name="connsiteY1" fmla="*/ 0 h 1046335"/>
              <a:gd name="connsiteX2" fmla="*/ 1583636 w 1583635"/>
              <a:gd name="connsiteY2" fmla="*/ 523168 h 1046335"/>
              <a:gd name="connsiteX3" fmla="*/ 791818 w 1583635"/>
              <a:gd name="connsiteY3" fmla="*/ 1046336 h 1046335"/>
              <a:gd name="connsiteX4" fmla="*/ 0 w 1583635"/>
              <a:gd name="connsiteY4" fmla="*/ 523168 h 1046335"/>
              <a:gd name="connsiteX0" fmla="*/ 3697 w 1587333"/>
              <a:gd name="connsiteY0" fmla="*/ 523168 h 1046336"/>
              <a:gd name="connsiteX1" fmla="*/ 596733 w 1587333"/>
              <a:gd name="connsiteY1" fmla="*/ 0 h 1046336"/>
              <a:gd name="connsiteX2" fmla="*/ 1587333 w 1587333"/>
              <a:gd name="connsiteY2" fmla="*/ 523168 h 1046336"/>
              <a:gd name="connsiteX3" fmla="*/ 795515 w 1587333"/>
              <a:gd name="connsiteY3" fmla="*/ 1046336 h 1046336"/>
              <a:gd name="connsiteX4" fmla="*/ 3697 w 1587333"/>
              <a:gd name="connsiteY4" fmla="*/ 523168 h 1046336"/>
              <a:gd name="connsiteX0" fmla="*/ 3697 w 1587333"/>
              <a:gd name="connsiteY0" fmla="*/ 546949 h 1070117"/>
              <a:gd name="connsiteX1" fmla="*/ 596733 w 1587333"/>
              <a:gd name="connsiteY1" fmla="*/ 23781 h 1070117"/>
              <a:gd name="connsiteX2" fmla="*/ 1587333 w 1587333"/>
              <a:gd name="connsiteY2" fmla="*/ 546949 h 1070117"/>
              <a:gd name="connsiteX3" fmla="*/ 795515 w 1587333"/>
              <a:gd name="connsiteY3" fmla="*/ 1070117 h 1070117"/>
              <a:gd name="connsiteX4" fmla="*/ 3697 w 1587333"/>
              <a:gd name="connsiteY4" fmla="*/ 546949 h 1070117"/>
              <a:gd name="connsiteX0" fmla="*/ 2120 w 1585756"/>
              <a:gd name="connsiteY0" fmla="*/ 623336 h 1047851"/>
              <a:gd name="connsiteX1" fmla="*/ 595156 w 1585756"/>
              <a:gd name="connsiteY1" fmla="*/ 777 h 1047851"/>
              <a:gd name="connsiteX2" fmla="*/ 1585756 w 1585756"/>
              <a:gd name="connsiteY2" fmla="*/ 523945 h 1047851"/>
              <a:gd name="connsiteX3" fmla="*/ 793938 w 1585756"/>
              <a:gd name="connsiteY3" fmla="*/ 1047113 h 1047851"/>
              <a:gd name="connsiteX4" fmla="*/ 2120 w 1585756"/>
              <a:gd name="connsiteY4" fmla="*/ 623336 h 1047851"/>
              <a:gd name="connsiteX0" fmla="*/ 3427 w 1587063"/>
              <a:gd name="connsiteY0" fmla="*/ 623336 h 1008193"/>
              <a:gd name="connsiteX1" fmla="*/ 596463 w 1587063"/>
              <a:gd name="connsiteY1" fmla="*/ 777 h 1008193"/>
              <a:gd name="connsiteX2" fmla="*/ 1587063 w 1587063"/>
              <a:gd name="connsiteY2" fmla="*/ 523945 h 1008193"/>
              <a:gd name="connsiteX3" fmla="*/ 854879 w 1587063"/>
              <a:gd name="connsiteY3" fmla="*/ 1007356 h 1008193"/>
              <a:gd name="connsiteX4" fmla="*/ 3427 w 1587063"/>
              <a:gd name="connsiteY4" fmla="*/ 623336 h 1008193"/>
              <a:gd name="connsiteX0" fmla="*/ 3427 w 1587063"/>
              <a:gd name="connsiteY0" fmla="*/ 625707 h 1012202"/>
              <a:gd name="connsiteX1" fmla="*/ 596463 w 1587063"/>
              <a:gd name="connsiteY1" fmla="*/ 3148 h 1012202"/>
              <a:gd name="connsiteX2" fmla="*/ 1587063 w 1587063"/>
              <a:gd name="connsiteY2" fmla="*/ 446803 h 1012202"/>
              <a:gd name="connsiteX3" fmla="*/ 854879 w 1587063"/>
              <a:gd name="connsiteY3" fmla="*/ 1009727 h 1012202"/>
              <a:gd name="connsiteX4" fmla="*/ 3427 w 1587063"/>
              <a:gd name="connsiteY4" fmla="*/ 625707 h 1012202"/>
              <a:gd name="connsiteX0" fmla="*/ 1744 w 1585380"/>
              <a:gd name="connsiteY0" fmla="*/ 625707 h 1111014"/>
              <a:gd name="connsiteX1" fmla="*/ 594780 w 1585380"/>
              <a:gd name="connsiteY1" fmla="*/ 3148 h 1111014"/>
              <a:gd name="connsiteX2" fmla="*/ 1585380 w 1585380"/>
              <a:gd name="connsiteY2" fmla="*/ 446803 h 1111014"/>
              <a:gd name="connsiteX3" fmla="*/ 773683 w 1585380"/>
              <a:gd name="connsiteY3" fmla="*/ 1109118 h 1111014"/>
              <a:gd name="connsiteX4" fmla="*/ 1744 w 1585380"/>
              <a:gd name="connsiteY4" fmla="*/ 625707 h 11110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85380" h="1111014">
                <a:moveTo>
                  <a:pt x="1744" y="625707"/>
                </a:moveTo>
                <a:cubicBezTo>
                  <a:pt x="-28073" y="441379"/>
                  <a:pt x="330841" y="32965"/>
                  <a:pt x="594780" y="3148"/>
                </a:cubicBezTo>
                <a:cubicBezTo>
                  <a:pt x="858719" y="-26669"/>
                  <a:pt x="1585380" y="157865"/>
                  <a:pt x="1585380" y="446803"/>
                </a:cubicBezTo>
                <a:cubicBezTo>
                  <a:pt x="1585380" y="735741"/>
                  <a:pt x="1037622" y="1079301"/>
                  <a:pt x="773683" y="1109118"/>
                </a:cubicBezTo>
                <a:cubicBezTo>
                  <a:pt x="509744" y="1138935"/>
                  <a:pt x="31561" y="810035"/>
                  <a:pt x="1744" y="625707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  <a:alpha val="60000"/>
            </a:schemeClr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ctr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35</a:t>
            </a:r>
            <a:r>
              <a:rPr kumimoji="0" lang="pt-BR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FillTx/>
                <a:latin typeface="Calibri"/>
                <a:ea typeface="Calibri"/>
                <a:cs typeface="Calibri"/>
                <a:sym typeface="Calibri"/>
              </a:rPr>
              <a:t>%</a:t>
            </a:r>
          </a:p>
        </p:txBody>
      </p:sp>
      <p:sp>
        <p:nvSpPr>
          <p:cNvPr id="13" name="Elipse 4">
            <a:extLst>
              <a:ext uri="{FF2B5EF4-FFF2-40B4-BE49-F238E27FC236}">
                <a16:creationId xmlns:a16="http://schemas.microsoft.com/office/drawing/2014/main" xmlns="" id="{AD68C21C-808E-4644-99C0-CD1540B65A79}"/>
              </a:ext>
            </a:extLst>
          </p:cNvPr>
          <p:cNvSpPr/>
          <p:nvPr/>
        </p:nvSpPr>
        <p:spPr>
          <a:xfrm>
            <a:off x="9025801" y="5371380"/>
            <a:ext cx="1165211" cy="1111014"/>
          </a:xfrm>
          <a:custGeom>
            <a:avLst/>
            <a:gdLst>
              <a:gd name="connsiteX0" fmla="*/ 0 w 1583635"/>
              <a:gd name="connsiteY0" fmla="*/ 523168 h 1046335"/>
              <a:gd name="connsiteX1" fmla="*/ 791818 w 1583635"/>
              <a:gd name="connsiteY1" fmla="*/ 0 h 1046335"/>
              <a:gd name="connsiteX2" fmla="*/ 1583636 w 1583635"/>
              <a:gd name="connsiteY2" fmla="*/ 523168 h 1046335"/>
              <a:gd name="connsiteX3" fmla="*/ 791818 w 1583635"/>
              <a:gd name="connsiteY3" fmla="*/ 1046336 h 1046335"/>
              <a:gd name="connsiteX4" fmla="*/ 0 w 1583635"/>
              <a:gd name="connsiteY4" fmla="*/ 523168 h 1046335"/>
              <a:gd name="connsiteX0" fmla="*/ 3697 w 1587333"/>
              <a:gd name="connsiteY0" fmla="*/ 523168 h 1046336"/>
              <a:gd name="connsiteX1" fmla="*/ 596733 w 1587333"/>
              <a:gd name="connsiteY1" fmla="*/ 0 h 1046336"/>
              <a:gd name="connsiteX2" fmla="*/ 1587333 w 1587333"/>
              <a:gd name="connsiteY2" fmla="*/ 523168 h 1046336"/>
              <a:gd name="connsiteX3" fmla="*/ 795515 w 1587333"/>
              <a:gd name="connsiteY3" fmla="*/ 1046336 h 1046336"/>
              <a:gd name="connsiteX4" fmla="*/ 3697 w 1587333"/>
              <a:gd name="connsiteY4" fmla="*/ 523168 h 1046336"/>
              <a:gd name="connsiteX0" fmla="*/ 3697 w 1587333"/>
              <a:gd name="connsiteY0" fmla="*/ 546949 h 1070117"/>
              <a:gd name="connsiteX1" fmla="*/ 596733 w 1587333"/>
              <a:gd name="connsiteY1" fmla="*/ 23781 h 1070117"/>
              <a:gd name="connsiteX2" fmla="*/ 1587333 w 1587333"/>
              <a:gd name="connsiteY2" fmla="*/ 546949 h 1070117"/>
              <a:gd name="connsiteX3" fmla="*/ 795515 w 1587333"/>
              <a:gd name="connsiteY3" fmla="*/ 1070117 h 1070117"/>
              <a:gd name="connsiteX4" fmla="*/ 3697 w 1587333"/>
              <a:gd name="connsiteY4" fmla="*/ 546949 h 1070117"/>
              <a:gd name="connsiteX0" fmla="*/ 2120 w 1585756"/>
              <a:gd name="connsiteY0" fmla="*/ 623336 h 1047851"/>
              <a:gd name="connsiteX1" fmla="*/ 595156 w 1585756"/>
              <a:gd name="connsiteY1" fmla="*/ 777 h 1047851"/>
              <a:gd name="connsiteX2" fmla="*/ 1585756 w 1585756"/>
              <a:gd name="connsiteY2" fmla="*/ 523945 h 1047851"/>
              <a:gd name="connsiteX3" fmla="*/ 793938 w 1585756"/>
              <a:gd name="connsiteY3" fmla="*/ 1047113 h 1047851"/>
              <a:gd name="connsiteX4" fmla="*/ 2120 w 1585756"/>
              <a:gd name="connsiteY4" fmla="*/ 623336 h 1047851"/>
              <a:gd name="connsiteX0" fmla="*/ 3427 w 1587063"/>
              <a:gd name="connsiteY0" fmla="*/ 623336 h 1008193"/>
              <a:gd name="connsiteX1" fmla="*/ 596463 w 1587063"/>
              <a:gd name="connsiteY1" fmla="*/ 777 h 1008193"/>
              <a:gd name="connsiteX2" fmla="*/ 1587063 w 1587063"/>
              <a:gd name="connsiteY2" fmla="*/ 523945 h 1008193"/>
              <a:gd name="connsiteX3" fmla="*/ 854879 w 1587063"/>
              <a:gd name="connsiteY3" fmla="*/ 1007356 h 1008193"/>
              <a:gd name="connsiteX4" fmla="*/ 3427 w 1587063"/>
              <a:gd name="connsiteY4" fmla="*/ 623336 h 1008193"/>
              <a:gd name="connsiteX0" fmla="*/ 3427 w 1587063"/>
              <a:gd name="connsiteY0" fmla="*/ 625707 h 1012202"/>
              <a:gd name="connsiteX1" fmla="*/ 596463 w 1587063"/>
              <a:gd name="connsiteY1" fmla="*/ 3148 h 1012202"/>
              <a:gd name="connsiteX2" fmla="*/ 1587063 w 1587063"/>
              <a:gd name="connsiteY2" fmla="*/ 446803 h 1012202"/>
              <a:gd name="connsiteX3" fmla="*/ 854879 w 1587063"/>
              <a:gd name="connsiteY3" fmla="*/ 1009727 h 1012202"/>
              <a:gd name="connsiteX4" fmla="*/ 3427 w 1587063"/>
              <a:gd name="connsiteY4" fmla="*/ 625707 h 1012202"/>
              <a:gd name="connsiteX0" fmla="*/ 1744 w 1585380"/>
              <a:gd name="connsiteY0" fmla="*/ 625707 h 1111014"/>
              <a:gd name="connsiteX1" fmla="*/ 594780 w 1585380"/>
              <a:gd name="connsiteY1" fmla="*/ 3148 h 1111014"/>
              <a:gd name="connsiteX2" fmla="*/ 1585380 w 1585380"/>
              <a:gd name="connsiteY2" fmla="*/ 446803 h 1111014"/>
              <a:gd name="connsiteX3" fmla="*/ 773683 w 1585380"/>
              <a:gd name="connsiteY3" fmla="*/ 1109118 h 1111014"/>
              <a:gd name="connsiteX4" fmla="*/ 1744 w 1585380"/>
              <a:gd name="connsiteY4" fmla="*/ 625707 h 11110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85380" h="1111014">
                <a:moveTo>
                  <a:pt x="1744" y="625707"/>
                </a:moveTo>
                <a:cubicBezTo>
                  <a:pt x="-28073" y="441379"/>
                  <a:pt x="330841" y="32965"/>
                  <a:pt x="594780" y="3148"/>
                </a:cubicBezTo>
                <a:cubicBezTo>
                  <a:pt x="858719" y="-26669"/>
                  <a:pt x="1585380" y="157865"/>
                  <a:pt x="1585380" y="446803"/>
                </a:cubicBezTo>
                <a:cubicBezTo>
                  <a:pt x="1585380" y="735741"/>
                  <a:pt x="1037622" y="1079301"/>
                  <a:pt x="773683" y="1109118"/>
                </a:cubicBezTo>
                <a:cubicBezTo>
                  <a:pt x="509744" y="1138935"/>
                  <a:pt x="31561" y="810035"/>
                  <a:pt x="1744" y="625707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  <a:alpha val="60000"/>
            </a:schemeClr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ctr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FillTx/>
                <a:latin typeface="Calibri"/>
                <a:ea typeface="Calibri"/>
                <a:cs typeface="Calibri"/>
                <a:sym typeface="Calibri"/>
              </a:rPr>
              <a:t>25%</a:t>
            </a:r>
          </a:p>
        </p:txBody>
      </p:sp>
      <p:sp>
        <p:nvSpPr>
          <p:cNvPr id="14" name="Elipse 4">
            <a:extLst>
              <a:ext uri="{FF2B5EF4-FFF2-40B4-BE49-F238E27FC236}">
                <a16:creationId xmlns:a16="http://schemas.microsoft.com/office/drawing/2014/main" xmlns="" id="{E3438533-F646-446F-85EC-86D06B7CB46A}"/>
              </a:ext>
            </a:extLst>
          </p:cNvPr>
          <p:cNvSpPr/>
          <p:nvPr/>
        </p:nvSpPr>
        <p:spPr>
          <a:xfrm>
            <a:off x="9025801" y="7518233"/>
            <a:ext cx="1165211" cy="1111014"/>
          </a:xfrm>
          <a:custGeom>
            <a:avLst/>
            <a:gdLst>
              <a:gd name="connsiteX0" fmla="*/ 0 w 1583635"/>
              <a:gd name="connsiteY0" fmla="*/ 523168 h 1046335"/>
              <a:gd name="connsiteX1" fmla="*/ 791818 w 1583635"/>
              <a:gd name="connsiteY1" fmla="*/ 0 h 1046335"/>
              <a:gd name="connsiteX2" fmla="*/ 1583636 w 1583635"/>
              <a:gd name="connsiteY2" fmla="*/ 523168 h 1046335"/>
              <a:gd name="connsiteX3" fmla="*/ 791818 w 1583635"/>
              <a:gd name="connsiteY3" fmla="*/ 1046336 h 1046335"/>
              <a:gd name="connsiteX4" fmla="*/ 0 w 1583635"/>
              <a:gd name="connsiteY4" fmla="*/ 523168 h 1046335"/>
              <a:gd name="connsiteX0" fmla="*/ 3697 w 1587333"/>
              <a:gd name="connsiteY0" fmla="*/ 523168 h 1046336"/>
              <a:gd name="connsiteX1" fmla="*/ 596733 w 1587333"/>
              <a:gd name="connsiteY1" fmla="*/ 0 h 1046336"/>
              <a:gd name="connsiteX2" fmla="*/ 1587333 w 1587333"/>
              <a:gd name="connsiteY2" fmla="*/ 523168 h 1046336"/>
              <a:gd name="connsiteX3" fmla="*/ 795515 w 1587333"/>
              <a:gd name="connsiteY3" fmla="*/ 1046336 h 1046336"/>
              <a:gd name="connsiteX4" fmla="*/ 3697 w 1587333"/>
              <a:gd name="connsiteY4" fmla="*/ 523168 h 1046336"/>
              <a:gd name="connsiteX0" fmla="*/ 3697 w 1587333"/>
              <a:gd name="connsiteY0" fmla="*/ 546949 h 1070117"/>
              <a:gd name="connsiteX1" fmla="*/ 596733 w 1587333"/>
              <a:gd name="connsiteY1" fmla="*/ 23781 h 1070117"/>
              <a:gd name="connsiteX2" fmla="*/ 1587333 w 1587333"/>
              <a:gd name="connsiteY2" fmla="*/ 546949 h 1070117"/>
              <a:gd name="connsiteX3" fmla="*/ 795515 w 1587333"/>
              <a:gd name="connsiteY3" fmla="*/ 1070117 h 1070117"/>
              <a:gd name="connsiteX4" fmla="*/ 3697 w 1587333"/>
              <a:gd name="connsiteY4" fmla="*/ 546949 h 1070117"/>
              <a:gd name="connsiteX0" fmla="*/ 2120 w 1585756"/>
              <a:gd name="connsiteY0" fmla="*/ 623336 h 1047851"/>
              <a:gd name="connsiteX1" fmla="*/ 595156 w 1585756"/>
              <a:gd name="connsiteY1" fmla="*/ 777 h 1047851"/>
              <a:gd name="connsiteX2" fmla="*/ 1585756 w 1585756"/>
              <a:gd name="connsiteY2" fmla="*/ 523945 h 1047851"/>
              <a:gd name="connsiteX3" fmla="*/ 793938 w 1585756"/>
              <a:gd name="connsiteY3" fmla="*/ 1047113 h 1047851"/>
              <a:gd name="connsiteX4" fmla="*/ 2120 w 1585756"/>
              <a:gd name="connsiteY4" fmla="*/ 623336 h 1047851"/>
              <a:gd name="connsiteX0" fmla="*/ 3427 w 1587063"/>
              <a:gd name="connsiteY0" fmla="*/ 623336 h 1008193"/>
              <a:gd name="connsiteX1" fmla="*/ 596463 w 1587063"/>
              <a:gd name="connsiteY1" fmla="*/ 777 h 1008193"/>
              <a:gd name="connsiteX2" fmla="*/ 1587063 w 1587063"/>
              <a:gd name="connsiteY2" fmla="*/ 523945 h 1008193"/>
              <a:gd name="connsiteX3" fmla="*/ 854879 w 1587063"/>
              <a:gd name="connsiteY3" fmla="*/ 1007356 h 1008193"/>
              <a:gd name="connsiteX4" fmla="*/ 3427 w 1587063"/>
              <a:gd name="connsiteY4" fmla="*/ 623336 h 1008193"/>
              <a:gd name="connsiteX0" fmla="*/ 3427 w 1587063"/>
              <a:gd name="connsiteY0" fmla="*/ 625707 h 1012202"/>
              <a:gd name="connsiteX1" fmla="*/ 596463 w 1587063"/>
              <a:gd name="connsiteY1" fmla="*/ 3148 h 1012202"/>
              <a:gd name="connsiteX2" fmla="*/ 1587063 w 1587063"/>
              <a:gd name="connsiteY2" fmla="*/ 446803 h 1012202"/>
              <a:gd name="connsiteX3" fmla="*/ 854879 w 1587063"/>
              <a:gd name="connsiteY3" fmla="*/ 1009727 h 1012202"/>
              <a:gd name="connsiteX4" fmla="*/ 3427 w 1587063"/>
              <a:gd name="connsiteY4" fmla="*/ 625707 h 1012202"/>
              <a:gd name="connsiteX0" fmla="*/ 1744 w 1585380"/>
              <a:gd name="connsiteY0" fmla="*/ 625707 h 1111014"/>
              <a:gd name="connsiteX1" fmla="*/ 594780 w 1585380"/>
              <a:gd name="connsiteY1" fmla="*/ 3148 h 1111014"/>
              <a:gd name="connsiteX2" fmla="*/ 1585380 w 1585380"/>
              <a:gd name="connsiteY2" fmla="*/ 446803 h 1111014"/>
              <a:gd name="connsiteX3" fmla="*/ 773683 w 1585380"/>
              <a:gd name="connsiteY3" fmla="*/ 1109118 h 1111014"/>
              <a:gd name="connsiteX4" fmla="*/ 1744 w 1585380"/>
              <a:gd name="connsiteY4" fmla="*/ 625707 h 11110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85380" h="1111014">
                <a:moveTo>
                  <a:pt x="1744" y="625707"/>
                </a:moveTo>
                <a:cubicBezTo>
                  <a:pt x="-28073" y="441379"/>
                  <a:pt x="330841" y="32965"/>
                  <a:pt x="594780" y="3148"/>
                </a:cubicBezTo>
                <a:cubicBezTo>
                  <a:pt x="858719" y="-26669"/>
                  <a:pt x="1585380" y="157865"/>
                  <a:pt x="1585380" y="446803"/>
                </a:cubicBezTo>
                <a:cubicBezTo>
                  <a:pt x="1585380" y="735741"/>
                  <a:pt x="1037622" y="1079301"/>
                  <a:pt x="773683" y="1109118"/>
                </a:cubicBezTo>
                <a:cubicBezTo>
                  <a:pt x="509744" y="1138935"/>
                  <a:pt x="31561" y="810035"/>
                  <a:pt x="1744" y="625707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  <a:alpha val="60000"/>
            </a:schemeClr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ctr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FillTx/>
                <a:latin typeface="Calibri"/>
                <a:ea typeface="Calibri"/>
                <a:cs typeface="Calibri"/>
                <a:sym typeface="Calibri"/>
              </a:rPr>
              <a:t>20%</a:t>
            </a:r>
          </a:p>
        </p:txBody>
      </p:sp>
      <p:sp>
        <p:nvSpPr>
          <p:cNvPr id="15" name="Elipse 4">
            <a:extLst>
              <a:ext uri="{FF2B5EF4-FFF2-40B4-BE49-F238E27FC236}">
                <a16:creationId xmlns:a16="http://schemas.microsoft.com/office/drawing/2014/main" xmlns="" id="{B66DFC8E-15FE-4ADC-9FAA-A0EB46ACD479}"/>
              </a:ext>
            </a:extLst>
          </p:cNvPr>
          <p:cNvSpPr/>
          <p:nvPr/>
        </p:nvSpPr>
        <p:spPr>
          <a:xfrm>
            <a:off x="9025801" y="9522470"/>
            <a:ext cx="1165211" cy="1111014"/>
          </a:xfrm>
          <a:custGeom>
            <a:avLst/>
            <a:gdLst>
              <a:gd name="connsiteX0" fmla="*/ 0 w 1583635"/>
              <a:gd name="connsiteY0" fmla="*/ 523168 h 1046335"/>
              <a:gd name="connsiteX1" fmla="*/ 791818 w 1583635"/>
              <a:gd name="connsiteY1" fmla="*/ 0 h 1046335"/>
              <a:gd name="connsiteX2" fmla="*/ 1583636 w 1583635"/>
              <a:gd name="connsiteY2" fmla="*/ 523168 h 1046335"/>
              <a:gd name="connsiteX3" fmla="*/ 791818 w 1583635"/>
              <a:gd name="connsiteY3" fmla="*/ 1046336 h 1046335"/>
              <a:gd name="connsiteX4" fmla="*/ 0 w 1583635"/>
              <a:gd name="connsiteY4" fmla="*/ 523168 h 1046335"/>
              <a:gd name="connsiteX0" fmla="*/ 3697 w 1587333"/>
              <a:gd name="connsiteY0" fmla="*/ 523168 h 1046336"/>
              <a:gd name="connsiteX1" fmla="*/ 596733 w 1587333"/>
              <a:gd name="connsiteY1" fmla="*/ 0 h 1046336"/>
              <a:gd name="connsiteX2" fmla="*/ 1587333 w 1587333"/>
              <a:gd name="connsiteY2" fmla="*/ 523168 h 1046336"/>
              <a:gd name="connsiteX3" fmla="*/ 795515 w 1587333"/>
              <a:gd name="connsiteY3" fmla="*/ 1046336 h 1046336"/>
              <a:gd name="connsiteX4" fmla="*/ 3697 w 1587333"/>
              <a:gd name="connsiteY4" fmla="*/ 523168 h 1046336"/>
              <a:gd name="connsiteX0" fmla="*/ 3697 w 1587333"/>
              <a:gd name="connsiteY0" fmla="*/ 546949 h 1070117"/>
              <a:gd name="connsiteX1" fmla="*/ 596733 w 1587333"/>
              <a:gd name="connsiteY1" fmla="*/ 23781 h 1070117"/>
              <a:gd name="connsiteX2" fmla="*/ 1587333 w 1587333"/>
              <a:gd name="connsiteY2" fmla="*/ 546949 h 1070117"/>
              <a:gd name="connsiteX3" fmla="*/ 795515 w 1587333"/>
              <a:gd name="connsiteY3" fmla="*/ 1070117 h 1070117"/>
              <a:gd name="connsiteX4" fmla="*/ 3697 w 1587333"/>
              <a:gd name="connsiteY4" fmla="*/ 546949 h 1070117"/>
              <a:gd name="connsiteX0" fmla="*/ 2120 w 1585756"/>
              <a:gd name="connsiteY0" fmla="*/ 623336 h 1047851"/>
              <a:gd name="connsiteX1" fmla="*/ 595156 w 1585756"/>
              <a:gd name="connsiteY1" fmla="*/ 777 h 1047851"/>
              <a:gd name="connsiteX2" fmla="*/ 1585756 w 1585756"/>
              <a:gd name="connsiteY2" fmla="*/ 523945 h 1047851"/>
              <a:gd name="connsiteX3" fmla="*/ 793938 w 1585756"/>
              <a:gd name="connsiteY3" fmla="*/ 1047113 h 1047851"/>
              <a:gd name="connsiteX4" fmla="*/ 2120 w 1585756"/>
              <a:gd name="connsiteY4" fmla="*/ 623336 h 1047851"/>
              <a:gd name="connsiteX0" fmla="*/ 3427 w 1587063"/>
              <a:gd name="connsiteY0" fmla="*/ 623336 h 1008193"/>
              <a:gd name="connsiteX1" fmla="*/ 596463 w 1587063"/>
              <a:gd name="connsiteY1" fmla="*/ 777 h 1008193"/>
              <a:gd name="connsiteX2" fmla="*/ 1587063 w 1587063"/>
              <a:gd name="connsiteY2" fmla="*/ 523945 h 1008193"/>
              <a:gd name="connsiteX3" fmla="*/ 854879 w 1587063"/>
              <a:gd name="connsiteY3" fmla="*/ 1007356 h 1008193"/>
              <a:gd name="connsiteX4" fmla="*/ 3427 w 1587063"/>
              <a:gd name="connsiteY4" fmla="*/ 623336 h 1008193"/>
              <a:gd name="connsiteX0" fmla="*/ 3427 w 1587063"/>
              <a:gd name="connsiteY0" fmla="*/ 625707 h 1012202"/>
              <a:gd name="connsiteX1" fmla="*/ 596463 w 1587063"/>
              <a:gd name="connsiteY1" fmla="*/ 3148 h 1012202"/>
              <a:gd name="connsiteX2" fmla="*/ 1587063 w 1587063"/>
              <a:gd name="connsiteY2" fmla="*/ 446803 h 1012202"/>
              <a:gd name="connsiteX3" fmla="*/ 854879 w 1587063"/>
              <a:gd name="connsiteY3" fmla="*/ 1009727 h 1012202"/>
              <a:gd name="connsiteX4" fmla="*/ 3427 w 1587063"/>
              <a:gd name="connsiteY4" fmla="*/ 625707 h 1012202"/>
              <a:gd name="connsiteX0" fmla="*/ 1744 w 1585380"/>
              <a:gd name="connsiteY0" fmla="*/ 625707 h 1111014"/>
              <a:gd name="connsiteX1" fmla="*/ 594780 w 1585380"/>
              <a:gd name="connsiteY1" fmla="*/ 3148 h 1111014"/>
              <a:gd name="connsiteX2" fmla="*/ 1585380 w 1585380"/>
              <a:gd name="connsiteY2" fmla="*/ 446803 h 1111014"/>
              <a:gd name="connsiteX3" fmla="*/ 773683 w 1585380"/>
              <a:gd name="connsiteY3" fmla="*/ 1109118 h 1111014"/>
              <a:gd name="connsiteX4" fmla="*/ 1744 w 1585380"/>
              <a:gd name="connsiteY4" fmla="*/ 625707 h 11110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85380" h="1111014">
                <a:moveTo>
                  <a:pt x="1744" y="625707"/>
                </a:moveTo>
                <a:cubicBezTo>
                  <a:pt x="-28073" y="441379"/>
                  <a:pt x="330841" y="32965"/>
                  <a:pt x="594780" y="3148"/>
                </a:cubicBezTo>
                <a:cubicBezTo>
                  <a:pt x="858719" y="-26669"/>
                  <a:pt x="1585380" y="157865"/>
                  <a:pt x="1585380" y="446803"/>
                </a:cubicBezTo>
                <a:cubicBezTo>
                  <a:pt x="1585380" y="735741"/>
                  <a:pt x="1037622" y="1079301"/>
                  <a:pt x="773683" y="1109118"/>
                </a:cubicBezTo>
                <a:cubicBezTo>
                  <a:pt x="509744" y="1138935"/>
                  <a:pt x="31561" y="810035"/>
                  <a:pt x="1744" y="625707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  <a:alpha val="60000"/>
            </a:schemeClr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ctr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</a:t>
            </a:r>
            <a:r>
              <a:rPr kumimoji="0" lang="pt-BR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FillTx/>
                <a:latin typeface="Calibri"/>
                <a:ea typeface="Calibri"/>
                <a:cs typeface="Calibri"/>
                <a:sym typeface="Calibri"/>
              </a:rPr>
              <a:t>%</a:t>
            </a:r>
          </a:p>
        </p:txBody>
      </p:sp>
    </p:spTree>
    <p:extLst>
      <p:ext uri="{BB962C8B-B14F-4D97-AF65-F5344CB8AC3E}">
        <p14:creationId xmlns:p14="http://schemas.microsoft.com/office/powerpoint/2010/main" val="30370102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8" grpId="0"/>
      <p:bldP spid="10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to 11" hidden="1">
            <a:extLst>
              <a:ext uri="{FF2B5EF4-FFF2-40B4-BE49-F238E27FC236}">
                <a16:creationId xmlns:a16="http://schemas.microsoft.com/office/drawing/2014/main" xmlns="" id="{23A450B0-2B61-4D20-94CA-45F5673B6D4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36" name="Slide do think-cell" r:id="rId5" imgW="425" imgH="426" progId="TCLayout.ActiveDocument.1">
                  <p:embed/>
                </p:oleObj>
              </mc:Choice>
              <mc:Fallback>
                <p:oleObj name="Slide do think-cell" r:id="rId5" imgW="425" imgH="426" progId="TCLayout.ActiveDocument.1">
                  <p:embed/>
                  <p:pic>
                    <p:nvPicPr>
                      <p:cNvPr id="12" name="Objeto 11" hidden="1">
                        <a:extLst>
                          <a:ext uri="{FF2B5EF4-FFF2-40B4-BE49-F238E27FC236}">
                            <a16:creationId xmlns:a16="http://schemas.microsoft.com/office/drawing/2014/main" xmlns="" id="{23A450B0-2B61-4D20-94CA-45F5673B6D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ítulo 1">
            <a:extLst>
              <a:ext uri="{FF2B5EF4-FFF2-40B4-BE49-F238E27FC236}">
                <a16:creationId xmlns:a16="http://schemas.microsoft.com/office/drawing/2014/main" xmlns="" id="{6D714A12-E139-4CEB-86D8-220787FE4583}"/>
              </a:ext>
            </a:extLst>
          </p:cNvPr>
          <p:cNvSpPr txBox="1">
            <a:spLocks/>
          </p:cNvSpPr>
          <p:nvPr/>
        </p:nvSpPr>
        <p:spPr>
          <a:xfrm>
            <a:off x="550492" y="372411"/>
            <a:ext cx="24384000" cy="1316792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4800" b="1">
                <a:solidFill>
                  <a:srgbClr val="F44F1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Bandeiras ABRACEEL 2022 - 2025</a:t>
            </a:r>
          </a:p>
        </p:txBody>
      </p:sp>
      <p:sp>
        <p:nvSpPr>
          <p:cNvPr id="2" name="Retângulo 1">
            <a:extLst>
              <a:ext uri="{FF2B5EF4-FFF2-40B4-BE49-F238E27FC236}">
                <a16:creationId xmlns:a16="http://schemas.microsoft.com/office/drawing/2014/main" xmlns="" id="{3105BBCC-DA5C-477E-86C5-B4B8C304988C}"/>
              </a:ext>
            </a:extLst>
          </p:cNvPr>
          <p:cNvSpPr/>
          <p:nvPr/>
        </p:nvSpPr>
        <p:spPr>
          <a:xfrm>
            <a:off x="8372290" y="1265634"/>
            <a:ext cx="14816552" cy="12022169"/>
          </a:xfrm>
          <a:prstGeom prst="rect">
            <a:avLst/>
          </a:prstGeom>
          <a:solidFill>
            <a:srgbClr val="FFFFFF">
              <a:alpha val="50000"/>
            </a:srgbClr>
          </a:solidFill>
          <a:ln w="25400" cap="flat">
            <a:solidFill>
              <a:srgbClr val="F44F15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R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44F15"/>
              </a:buClr>
              <a:buSzTx/>
              <a:tabLst/>
            </a:pPr>
            <a:endParaRPr kumimoji="0" lang="pt-BR" b="1" i="0" u="none" strike="noStrike" cap="none" spc="0" normalizeH="0" baseline="0">
              <a:ln>
                <a:noFill/>
              </a:ln>
              <a:solidFill>
                <a:schemeClr val="tx1"/>
              </a:solidFill>
              <a:effectLst/>
              <a:uFillTx/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Calibri"/>
            </a:endParaRPr>
          </a:p>
        </p:txBody>
      </p:sp>
      <p:sp>
        <p:nvSpPr>
          <p:cNvPr id="11" name="Retângulo 10">
            <a:extLst>
              <a:ext uri="{FF2B5EF4-FFF2-40B4-BE49-F238E27FC236}">
                <a16:creationId xmlns:a16="http://schemas.microsoft.com/office/drawing/2014/main" xmlns="" id="{5C55B735-4DB8-4C9B-AC87-6A478728AA7E}"/>
              </a:ext>
            </a:extLst>
          </p:cNvPr>
          <p:cNvSpPr/>
          <p:nvPr/>
        </p:nvSpPr>
        <p:spPr>
          <a:xfrm>
            <a:off x="978589" y="1265635"/>
            <a:ext cx="7308000" cy="12022169"/>
          </a:xfrm>
          <a:prstGeom prst="rect">
            <a:avLst/>
          </a:prstGeom>
          <a:solidFill>
            <a:srgbClr val="548235"/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" name="Elipse 3">
            <a:extLst>
              <a:ext uri="{FF2B5EF4-FFF2-40B4-BE49-F238E27FC236}">
                <a16:creationId xmlns:a16="http://schemas.microsoft.com/office/drawing/2014/main" xmlns="" id="{03EC579A-1CF8-4764-8A94-B20D34274837}"/>
              </a:ext>
            </a:extLst>
          </p:cNvPr>
          <p:cNvSpPr/>
          <p:nvPr/>
        </p:nvSpPr>
        <p:spPr>
          <a:xfrm>
            <a:off x="1071844" y="1602543"/>
            <a:ext cx="1407557" cy="1292661"/>
          </a:xfrm>
          <a:custGeom>
            <a:avLst/>
            <a:gdLst>
              <a:gd name="connsiteX0" fmla="*/ 0 w 3233132"/>
              <a:gd name="connsiteY0" fmla="*/ 1591757 h 3183514"/>
              <a:gd name="connsiteX1" fmla="*/ 1616566 w 3233132"/>
              <a:gd name="connsiteY1" fmla="*/ 0 h 3183514"/>
              <a:gd name="connsiteX2" fmla="*/ 3233132 w 3233132"/>
              <a:gd name="connsiteY2" fmla="*/ 1591757 h 3183514"/>
              <a:gd name="connsiteX3" fmla="*/ 1616566 w 3233132"/>
              <a:gd name="connsiteY3" fmla="*/ 3183514 h 3183514"/>
              <a:gd name="connsiteX4" fmla="*/ 0 w 3233132"/>
              <a:gd name="connsiteY4" fmla="*/ 1591757 h 3183514"/>
              <a:gd name="connsiteX0" fmla="*/ 4861 w 3237993"/>
              <a:gd name="connsiteY0" fmla="*/ 1485431 h 3077188"/>
              <a:gd name="connsiteX1" fmla="*/ 1281185 w 3237993"/>
              <a:gd name="connsiteY1" fmla="*/ 0 h 3077188"/>
              <a:gd name="connsiteX2" fmla="*/ 3237993 w 3237993"/>
              <a:gd name="connsiteY2" fmla="*/ 1485431 h 3077188"/>
              <a:gd name="connsiteX3" fmla="*/ 1621427 w 3237993"/>
              <a:gd name="connsiteY3" fmla="*/ 3077188 h 3077188"/>
              <a:gd name="connsiteX4" fmla="*/ 4861 w 3237993"/>
              <a:gd name="connsiteY4" fmla="*/ 1485431 h 3077188"/>
              <a:gd name="connsiteX0" fmla="*/ 4861 w 3237993"/>
              <a:gd name="connsiteY0" fmla="*/ 1485431 h 2885802"/>
              <a:gd name="connsiteX1" fmla="*/ 1281185 w 3237993"/>
              <a:gd name="connsiteY1" fmla="*/ 0 h 2885802"/>
              <a:gd name="connsiteX2" fmla="*/ 3237993 w 3237993"/>
              <a:gd name="connsiteY2" fmla="*/ 1485431 h 2885802"/>
              <a:gd name="connsiteX3" fmla="*/ 1621427 w 3237993"/>
              <a:gd name="connsiteY3" fmla="*/ 2885802 h 2885802"/>
              <a:gd name="connsiteX4" fmla="*/ 4861 w 3237993"/>
              <a:gd name="connsiteY4" fmla="*/ 1485431 h 2885802"/>
              <a:gd name="connsiteX0" fmla="*/ 2785 w 3065796"/>
              <a:gd name="connsiteY0" fmla="*/ 1485446 h 2885827"/>
              <a:gd name="connsiteX1" fmla="*/ 1279109 w 3065796"/>
              <a:gd name="connsiteY1" fmla="*/ 15 h 2885827"/>
              <a:gd name="connsiteX2" fmla="*/ 3065796 w 3065796"/>
              <a:gd name="connsiteY2" fmla="*/ 1464180 h 2885827"/>
              <a:gd name="connsiteX3" fmla="*/ 1619351 w 3065796"/>
              <a:gd name="connsiteY3" fmla="*/ 2885817 h 2885827"/>
              <a:gd name="connsiteX4" fmla="*/ 2785 w 3065796"/>
              <a:gd name="connsiteY4" fmla="*/ 1485446 h 28858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65796" h="2885827">
                <a:moveTo>
                  <a:pt x="2785" y="1485446"/>
                </a:moveTo>
                <a:cubicBezTo>
                  <a:pt x="-53922" y="1004479"/>
                  <a:pt x="768607" y="3559"/>
                  <a:pt x="1279109" y="15"/>
                </a:cubicBezTo>
                <a:cubicBezTo>
                  <a:pt x="1789611" y="-3529"/>
                  <a:pt x="3065796" y="585077"/>
                  <a:pt x="3065796" y="1464180"/>
                </a:cubicBezTo>
                <a:cubicBezTo>
                  <a:pt x="3065796" y="2343283"/>
                  <a:pt x="2129853" y="2882273"/>
                  <a:pt x="1619351" y="2885817"/>
                </a:cubicBezTo>
                <a:cubicBezTo>
                  <a:pt x="1108849" y="2889361"/>
                  <a:pt x="59492" y="1966413"/>
                  <a:pt x="2785" y="1485446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  <a:alpha val="50000"/>
            </a:schemeClr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14" name="Conector reto 13">
            <a:extLst>
              <a:ext uri="{FF2B5EF4-FFF2-40B4-BE49-F238E27FC236}">
                <a16:creationId xmlns:a16="http://schemas.microsoft.com/office/drawing/2014/main" xmlns="" id="{0A4AC2DD-AD21-4040-BCBC-8F6188FB8C9C}"/>
              </a:ext>
            </a:extLst>
          </p:cNvPr>
          <p:cNvCxnSpPr>
            <a:cxnSpLocks/>
          </p:cNvCxnSpPr>
          <p:nvPr/>
        </p:nvCxnSpPr>
        <p:spPr>
          <a:xfrm>
            <a:off x="2611409" y="1360759"/>
            <a:ext cx="0" cy="2709223"/>
          </a:xfrm>
          <a:prstGeom prst="line">
            <a:avLst/>
          </a:prstGeom>
          <a:noFill/>
          <a:ln w="63500" cap="flat">
            <a:solidFill>
              <a:schemeClr val="bg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5" name="CaixaDeTexto 14">
            <a:extLst>
              <a:ext uri="{FF2B5EF4-FFF2-40B4-BE49-F238E27FC236}">
                <a16:creationId xmlns:a16="http://schemas.microsoft.com/office/drawing/2014/main" xmlns="" id="{7CC68897-DF34-4544-90D2-748B5C3512C7}"/>
              </a:ext>
            </a:extLst>
          </p:cNvPr>
          <p:cNvSpPr txBox="1"/>
          <p:nvPr/>
        </p:nvSpPr>
        <p:spPr>
          <a:xfrm>
            <a:off x="2822293" y="1360759"/>
            <a:ext cx="3888975" cy="2769987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5400" b="1">
                <a:solidFill>
                  <a:schemeClr val="bg1"/>
                </a:solidFill>
              </a:rPr>
              <a:t>Segurança de Mercado</a:t>
            </a:r>
          </a:p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6000" i="1">
                <a:solidFill>
                  <a:schemeClr val="accent6">
                    <a:lumMod val="20000"/>
                    <a:lumOff val="80000"/>
                  </a:schemeClr>
                </a:solidFill>
              </a:rPr>
              <a:t>33%</a:t>
            </a:r>
            <a:endParaRPr kumimoji="0" lang="pt-BR" sz="6000" i="1" u="none" strike="noStrike" cap="none" spc="0" normalizeH="0" baseline="0">
              <a:ln>
                <a:noFill/>
              </a:ln>
              <a:solidFill>
                <a:schemeClr val="accent6">
                  <a:lumMod val="20000"/>
                  <a:lumOff val="80000"/>
                </a:schemeClr>
              </a:solidFill>
              <a:effectLst/>
              <a:uFillTx/>
              <a:sym typeface="Calibri"/>
            </a:endParaRPr>
          </a:p>
        </p:txBody>
      </p:sp>
      <p:pic>
        <p:nvPicPr>
          <p:cNvPr id="16" name="Imagem 15">
            <a:extLst>
              <a:ext uri="{FF2B5EF4-FFF2-40B4-BE49-F238E27FC236}">
                <a16:creationId xmlns:a16="http://schemas.microsoft.com/office/drawing/2014/main" xmlns="" id="{F76433C8-AD6F-48A7-9CD2-2BDB8C33638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290" y="1553075"/>
            <a:ext cx="1422663" cy="1422663"/>
          </a:xfrm>
          <a:prstGeom prst="rect">
            <a:avLst/>
          </a:prstGeom>
        </p:spPr>
      </p:pic>
      <p:sp>
        <p:nvSpPr>
          <p:cNvPr id="10" name="Retângulo 9">
            <a:extLst>
              <a:ext uri="{FF2B5EF4-FFF2-40B4-BE49-F238E27FC236}">
                <a16:creationId xmlns:a16="http://schemas.microsoft.com/office/drawing/2014/main" xmlns="" id="{BC52C9C7-5A99-4F83-BF20-CA198F070AC7}"/>
              </a:ext>
            </a:extLst>
          </p:cNvPr>
          <p:cNvSpPr/>
          <p:nvPr/>
        </p:nvSpPr>
        <p:spPr>
          <a:xfrm>
            <a:off x="10048134" y="1265634"/>
            <a:ext cx="13140708" cy="12022169"/>
          </a:xfrm>
          <a:prstGeom prst="rect">
            <a:avLst/>
          </a:prstGeom>
          <a:solidFill>
            <a:srgbClr val="FFFFFF">
              <a:alpha val="50000"/>
            </a:srgbClr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514350" marR="0" indent="-51435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44F15"/>
              </a:buClr>
              <a:buSzTx/>
              <a:buFont typeface="+mj-lt"/>
              <a:buAutoNum type="arabicPeriod"/>
              <a:tabLst/>
            </a:pPr>
            <a:r>
              <a:rPr kumimoji="0" lang="pt-BR" b="1" i="0" u="none" strike="noStrike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Calibri"/>
              </a:rPr>
              <a:t>Atuar pela aprovação de metodologia de monitoramento </a:t>
            </a:r>
            <a:br>
              <a:rPr kumimoji="0" lang="pt-BR" b="1" i="0" u="none" strike="noStrike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Calibri"/>
              </a:rPr>
            </a:br>
            <a:r>
              <a:rPr kumimoji="0" lang="pt-BR" b="1" i="0" u="none" strike="noStrike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Calibri"/>
              </a:rPr>
              <a:t>de alavancagem em linha com os interesses da Associação.</a:t>
            </a:r>
          </a:p>
          <a:p>
            <a:pPr marL="514350" marR="0" indent="-51435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44F15"/>
              </a:buClr>
              <a:buSzTx/>
              <a:buFont typeface="+mj-lt"/>
              <a:buAutoNum type="arabicPeriod"/>
              <a:tabLst/>
            </a:pPr>
            <a:endParaRPr lang="pt-BR" b="1">
              <a:solidFill>
                <a:schemeClr val="tx1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514350" marR="0" indent="-51435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44F15"/>
              </a:buClr>
              <a:buSzTx/>
              <a:buFont typeface="+mj-lt"/>
              <a:buAutoNum type="arabicPeriod"/>
              <a:tabLst/>
            </a:pPr>
            <a:r>
              <a:rPr lang="pt-BR" b="1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Trabalhar para eliminar obrigações regulatórias que aumentam a burocracia e não agregam em segurança.</a:t>
            </a:r>
          </a:p>
          <a:p>
            <a:pPr marL="514350" marR="0" indent="-51435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44F15"/>
              </a:buClr>
              <a:buSzTx/>
              <a:buFont typeface="+mj-lt"/>
              <a:buAutoNum type="arabicPeriod"/>
              <a:tabLst/>
            </a:pPr>
            <a:endParaRPr kumimoji="0" lang="pt-BR" b="1" i="0" u="none" strike="noStrike" cap="none" spc="0" normalizeH="0" baseline="0">
              <a:ln>
                <a:noFill/>
              </a:ln>
              <a:solidFill>
                <a:schemeClr val="tx1"/>
              </a:solidFill>
              <a:effectLst/>
              <a:uFillTx/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Calibri"/>
            </a:endParaRPr>
          </a:p>
          <a:p>
            <a:pPr marL="514350" marR="0" indent="-51435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44F15"/>
              </a:buClr>
              <a:buSzTx/>
              <a:buFont typeface="+mj-lt"/>
              <a:buAutoNum type="arabicPeriod"/>
              <a:tabLst/>
            </a:pPr>
            <a:r>
              <a:rPr lang="pt-BR" b="1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Dar ampla visibilidade às propostas da ABRACEEL.</a:t>
            </a:r>
          </a:p>
          <a:p>
            <a:pPr marL="514350" marR="0" indent="-51435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44F15"/>
              </a:buClr>
              <a:buSzTx/>
              <a:buFont typeface="+mj-lt"/>
              <a:buAutoNum type="arabicPeriod"/>
              <a:tabLst/>
            </a:pPr>
            <a:endParaRPr kumimoji="0" lang="pt-BR" b="1" i="0" u="none" strike="noStrike" cap="none" spc="0" normalizeH="0" baseline="0">
              <a:ln>
                <a:noFill/>
              </a:ln>
              <a:solidFill>
                <a:schemeClr val="tx1"/>
              </a:solidFill>
              <a:effectLst/>
              <a:uFillTx/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Calibri"/>
            </a:endParaRPr>
          </a:p>
          <a:p>
            <a:pPr marL="514350" marR="0" indent="-51435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44F15"/>
              </a:buClr>
              <a:buSzTx/>
              <a:buFont typeface="+mj-lt"/>
              <a:buAutoNum type="arabicPeriod"/>
              <a:tabLst/>
            </a:pPr>
            <a:r>
              <a:rPr kumimoji="0" lang="pt-BR" b="1" i="0" u="none" strike="noStrike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Calibri"/>
              </a:rPr>
              <a:t>Promover cooperação técnica com o Mercado Financeiro </a:t>
            </a:r>
            <a:br>
              <a:rPr kumimoji="0" lang="pt-BR" b="1" i="0" u="none" strike="noStrike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Calibri"/>
              </a:rPr>
            </a:br>
            <a:r>
              <a:rPr lang="pt-BR" b="1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em ações de educação e informação.</a:t>
            </a:r>
          </a:p>
          <a:p>
            <a:pPr marL="514350" marR="0" indent="-51435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44F15"/>
              </a:buClr>
              <a:buSzTx/>
              <a:buFont typeface="+mj-lt"/>
              <a:buAutoNum type="arabicPeriod"/>
              <a:tabLst/>
            </a:pPr>
            <a:endParaRPr kumimoji="0" lang="pt-BR" b="1" i="0" u="none" strike="noStrike" cap="none" spc="0" normalizeH="0" baseline="0">
              <a:ln>
                <a:noFill/>
              </a:ln>
              <a:solidFill>
                <a:schemeClr val="tx1"/>
              </a:solidFill>
              <a:effectLst/>
              <a:uFillTx/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Calibri"/>
            </a:endParaRPr>
          </a:p>
          <a:p>
            <a:pPr marL="514350" indent="-514350">
              <a:buClr>
                <a:srgbClr val="F44F15"/>
              </a:buClr>
              <a:buFont typeface="+mj-lt"/>
              <a:buAutoNum type="arabicPeriod"/>
            </a:pPr>
            <a:r>
              <a:rPr lang="pt-BR" b="1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Avaliar e p</a:t>
            </a:r>
            <a:r>
              <a:rPr kumimoji="0" lang="pt-BR" b="1" i="0" u="none" strike="noStrike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Calibri"/>
              </a:rPr>
              <a:t>ropor melhorias na metodologia de garantias financeiras</a:t>
            </a:r>
            <a:r>
              <a:rPr kumimoji="0" lang="pt-BR" b="1" i="0" u="none" strike="noStrike" cap="none" spc="0" normalizeH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Calibri"/>
              </a:rPr>
              <a:t> do Mercado de Curto Prazo</a:t>
            </a:r>
            <a:r>
              <a:rPr kumimoji="0" lang="pt-BR" b="1" i="0" u="none" strike="noStrike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Calibri"/>
              </a:rPr>
              <a:t>.</a:t>
            </a:r>
          </a:p>
        </p:txBody>
      </p:sp>
      <p:sp>
        <p:nvSpPr>
          <p:cNvPr id="17" name="Elipse 4">
            <a:extLst>
              <a:ext uri="{FF2B5EF4-FFF2-40B4-BE49-F238E27FC236}">
                <a16:creationId xmlns:a16="http://schemas.microsoft.com/office/drawing/2014/main" xmlns="" id="{1CBDA8DC-A95C-4710-9DC7-81C81E17D3FB}"/>
              </a:ext>
            </a:extLst>
          </p:cNvPr>
          <p:cNvSpPr/>
          <p:nvPr/>
        </p:nvSpPr>
        <p:spPr>
          <a:xfrm>
            <a:off x="8568600" y="3701421"/>
            <a:ext cx="1165211" cy="1111014"/>
          </a:xfrm>
          <a:custGeom>
            <a:avLst/>
            <a:gdLst>
              <a:gd name="connsiteX0" fmla="*/ 0 w 1583635"/>
              <a:gd name="connsiteY0" fmla="*/ 523168 h 1046335"/>
              <a:gd name="connsiteX1" fmla="*/ 791818 w 1583635"/>
              <a:gd name="connsiteY1" fmla="*/ 0 h 1046335"/>
              <a:gd name="connsiteX2" fmla="*/ 1583636 w 1583635"/>
              <a:gd name="connsiteY2" fmla="*/ 523168 h 1046335"/>
              <a:gd name="connsiteX3" fmla="*/ 791818 w 1583635"/>
              <a:gd name="connsiteY3" fmla="*/ 1046336 h 1046335"/>
              <a:gd name="connsiteX4" fmla="*/ 0 w 1583635"/>
              <a:gd name="connsiteY4" fmla="*/ 523168 h 1046335"/>
              <a:gd name="connsiteX0" fmla="*/ 3697 w 1587333"/>
              <a:gd name="connsiteY0" fmla="*/ 523168 h 1046336"/>
              <a:gd name="connsiteX1" fmla="*/ 596733 w 1587333"/>
              <a:gd name="connsiteY1" fmla="*/ 0 h 1046336"/>
              <a:gd name="connsiteX2" fmla="*/ 1587333 w 1587333"/>
              <a:gd name="connsiteY2" fmla="*/ 523168 h 1046336"/>
              <a:gd name="connsiteX3" fmla="*/ 795515 w 1587333"/>
              <a:gd name="connsiteY3" fmla="*/ 1046336 h 1046336"/>
              <a:gd name="connsiteX4" fmla="*/ 3697 w 1587333"/>
              <a:gd name="connsiteY4" fmla="*/ 523168 h 1046336"/>
              <a:gd name="connsiteX0" fmla="*/ 3697 w 1587333"/>
              <a:gd name="connsiteY0" fmla="*/ 546949 h 1070117"/>
              <a:gd name="connsiteX1" fmla="*/ 596733 w 1587333"/>
              <a:gd name="connsiteY1" fmla="*/ 23781 h 1070117"/>
              <a:gd name="connsiteX2" fmla="*/ 1587333 w 1587333"/>
              <a:gd name="connsiteY2" fmla="*/ 546949 h 1070117"/>
              <a:gd name="connsiteX3" fmla="*/ 795515 w 1587333"/>
              <a:gd name="connsiteY3" fmla="*/ 1070117 h 1070117"/>
              <a:gd name="connsiteX4" fmla="*/ 3697 w 1587333"/>
              <a:gd name="connsiteY4" fmla="*/ 546949 h 1070117"/>
              <a:gd name="connsiteX0" fmla="*/ 2120 w 1585756"/>
              <a:gd name="connsiteY0" fmla="*/ 623336 h 1047851"/>
              <a:gd name="connsiteX1" fmla="*/ 595156 w 1585756"/>
              <a:gd name="connsiteY1" fmla="*/ 777 h 1047851"/>
              <a:gd name="connsiteX2" fmla="*/ 1585756 w 1585756"/>
              <a:gd name="connsiteY2" fmla="*/ 523945 h 1047851"/>
              <a:gd name="connsiteX3" fmla="*/ 793938 w 1585756"/>
              <a:gd name="connsiteY3" fmla="*/ 1047113 h 1047851"/>
              <a:gd name="connsiteX4" fmla="*/ 2120 w 1585756"/>
              <a:gd name="connsiteY4" fmla="*/ 623336 h 1047851"/>
              <a:gd name="connsiteX0" fmla="*/ 3427 w 1587063"/>
              <a:gd name="connsiteY0" fmla="*/ 623336 h 1008193"/>
              <a:gd name="connsiteX1" fmla="*/ 596463 w 1587063"/>
              <a:gd name="connsiteY1" fmla="*/ 777 h 1008193"/>
              <a:gd name="connsiteX2" fmla="*/ 1587063 w 1587063"/>
              <a:gd name="connsiteY2" fmla="*/ 523945 h 1008193"/>
              <a:gd name="connsiteX3" fmla="*/ 854879 w 1587063"/>
              <a:gd name="connsiteY3" fmla="*/ 1007356 h 1008193"/>
              <a:gd name="connsiteX4" fmla="*/ 3427 w 1587063"/>
              <a:gd name="connsiteY4" fmla="*/ 623336 h 1008193"/>
              <a:gd name="connsiteX0" fmla="*/ 3427 w 1587063"/>
              <a:gd name="connsiteY0" fmla="*/ 625707 h 1012202"/>
              <a:gd name="connsiteX1" fmla="*/ 596463 w 1587063"/>
              <a:gd name="connsiteY1" fmla="*/ 3148 h 1012202"/>
              <a:gd name="connsiteX2" fmla="*/ 1587063 w 1587063"/>
              <a:gd name="connsiteY2" fmla="*/ 446803 h 1012202"/>
              <a:gd name="connsiteX3" fmla="*/ 854879 w 1587063"/>
              <a:gd name="connsiteY3" fmla="*/ 1009727 h 1012202"/>
              <a:gd name="connsiteX4" fmla="*/ 3427 w 1587063"/>
              <a:gd name="connsiteY4" fmla="*/ 625707 h 1012202"/>
              <a:gd name="connsiteX0" fmla="*/ 1744 w 1585380"/>
              <a:gd name="connsiteY0" fmla="*/ 625707 h 1111014"/>
              <a:gd name="connsiteX1" fmla="*/ 594780 w 1585380"/>
              <a:gd name="connsiteY1" fmla="*/ 3148 h 1111014"/>
              <a:gd name="connsiteX2" fmla="*/ 1585380 w 1585380"/>
              <a:gd name="connsiteY2" fmla="*/ 446803 h 1111014"/>
              <a:gd name="connsiteX3" fmla="*/ 773683 w 1585380"/>
              <a:gd name="connsiteY3" fmla="*/ 1109118 h 1111014"/>
              <a:gd name="connsiteX4" fmla="*/ 1744 w 1585380"/>
              <a:gd name="connsiteY4" fmla="*/ 625707 h 11110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85380" h="1111014">
                <a:moveTo>
                  <a:pt x="1744" y="625707"/>
                </a:moveTo>
                <a:cubicBezTo>
                  <a:pt x="-28073" y="441379"/>
                  <a:pt x="330841" y="32965"/>
                  <a:pt x="594780" y="3148"/>
                </a:cubicBezTo>
                <a:cubicBezTo>
                  <a:pt x="858719" y="-26669"/>
                  <a:pt x="1585380" y="157865"/>
                  <a:pt x="1585380" y="446803"/>
                </a:cubicBezTo>
                <a:cubicBezTo>
                  <a:pt x="1585380" y="735741"/>
                  <a:pt x="1037622" y="1079301"/>
                  <a:pt x="773683" y="1109118"/>
                </a:cubicBezTo>
                <a:cubicBezTo>
                  <a:pt x="509744" y="1138935"/>
                  <a:pt x="31561" y="810035"/>
                  <a:pt x="1744" y="625707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  <a:alpha val="60000"/>
            </a:schemeClr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ctr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FillTx/>
                <a:latin typeface="Calibri"/>
                <a:ea typeface="Calibri"/>
                <a:cs typeface="Calibri"/>
                <a:sym typeface="Calibri"/>
              </a:rPr>
              <a:t>35%</a:t>
            </a:r>
          </a:p>
        </p:txBody>
      </p:sp>
      <p:sp>
        <p:nvSpPr>
          <p:cNvPr id="18" name="Elipse 4">
            <a:extLst>
              <a:ext uri="{FF2B5EF4-FFF2-40B4-BE49-F238E27FC236}">
                <a16:creationId xmlns:a16="http://schemas.microsoft.com/office/drawing/2014/main" xmlns="" id="{8799921D-2596-4BAE-83B6-3D29DB3F9C57}"/>
              </a:ext>
            </a:extLst>
          </p:cNvPr>
          <p:cNvSpPr/>
          <p:nvPr/>
        </p:nvSpPr>
        <p:spPr>
          <a:xfrm>
            <a:off x="8568600" y="5371380"/>
            <a:ext cx="1165211" cy="1111014"/>
          </a:xfrm>
          <a:custGeom>
            <a:avLst/>
            <a:gdLst>
              <a:gd name="connsiteX0" fmla="*/ 0 w 1583635"/>
              <a:gd name="connsiteY0" fmla="*/ 523168 h 1046335"/>
              <a:gd name="connsiteX1" fmla="*/ 791818 w 1583635"/>
              <a:gd name="connsiteY1" fmla="*/ 0 h 1046335"/>
              <a:gd name="connsiteX2" fmla="*/ 1583636 w 1583635"/>
              <a:gd name="connsiteY2" fmla="*/ 523168 h 1046335"/>
              <a:gd name="connsiteX3" fmla="*/ 791818 w 1583635"/>
              <a:gd name="connsiteY3" fmla="*/ 1046336 h 1046335"/>
              <a:gd name="connsiteX4" fmla="*/ 0 w 1583635"/>
              <a:gd name="connsiteY4" fmla="*/ 523168 h 1046335"/>
              <a:gd name="connsiteX0" fmla="*/ 3697 w 1587333"/>
              <a:gd name="connsiteY0" fmla="*/ 523168 h 1046336"/>
              <a:gd name="connsiteX1" fmla="*/ 596733 w 1587333"/>
              <a:gd name="connsiteY1" fmla="*/ 0 h 1046336"/>
              <a:gd name="connsiteX2" fmla="*/ 1587333 w 1587333"/>
              <a:gd name="connsiteY2" fmla="*/ 523168 h 1046336"/>
              <a:gd name="connsiteX3" fmla="*/ 795515 w 1587333"/>
              <a:gd name="connsiteY3" fmla="*/ 1046336 h 1046336"/>
              <a:gd name="connsiteX4" fmla="*/ 3697 w 1587333"/>
              <a:gd name="connsiteY4" fmla="*/ 523168 h 1046336"/>
              <a:gd name="connsiteX0" fmla="*/ 3697 w 1587333"/>
              <a:gd name="connsiteY0" fmla="*/ 546949 h 1070117"/>
              <a:gd name="connsiteX1" fmla="*/ 596733 w 1587333"/>
              <a:gd name="connsiteY1" fmla="*/ 23781 h 1070117"/>
              <a:gd name="connsiteX2" fmla="*/ 1587333 w 1587333"/>
              <a:gd name="connsiteY2" fmla="*/ 546949 h 1070117"/>
              <a:gd name="connsiteX3" fmla="*/ 795515 w 1587333"/>
              <a:gd name="connsiteY3" fmla="*/ 1070117 h 1070117"/>
              <a:gd name="connsiteX4" fmla="*/ 3697 w 1587333"/>
              <a:gd name="connsiteY4" fmla="*/ 546949 h 1070117"/>
              <a:gd name="connsiteX0" fmla="*/ 2120 w 1585756"/>
              <a:gd name="connsiteY0" fmla="*/ 623336 h 1047851"/>
              <a:gd name="connsiteX1" fmla="*/ 595156 w 1585756"/>
              <a:gd name="connsiteY1" fmla="*/ 777 h 1047851"/>
              <a:gd name="connsiteX2" fmla="*/ 1585756 w 1585756"/>
              <a:gd name="connsiteY2" fmla="*/ 523945 h 1047851"/>
              <a:gd name="connsiteX3" fmla="*/ 793938 w 1585756"/>
              <a:gd name="connsiteY3" fmla="*/ 1047113 h 1047851"/>
              <a:gd name="connsiteX4" fmla="*/ 2120 w 1585756"/>
              <a:gd name="connsiteY4" fmla="*/ 623336 h 1047851"/>
              <a:gd name="connsiteX0" fmla="*/ 3427 w 1587063"/>
              <a:gd name="connsiteY0" fmla="*/ 623336 h 1008193"/>
              <a:gd name="connsiteX1" fmla="*/ 596463 w 1587063"/>
              <a:gd name="connsiteY1" fmla="*/ 777 h 1008193"/>
              <a:gd name="connsiteX2" fmla="*/ 1587063 w 1587063"/>
              <a:gd name="connsiteY2" fmla="*/ 523945 h 1008193"/>
              <a:gd name="connsiteX3" fmla="*/ 854879 w 1587063"/>
              <a:gd name="connsiteY3" fmla="*/ 1007356 h 1008193"/>
              <a:gd name="connsiteX4" fmla="*/ 3427 w 1587063"/>
              <a:gd name="connsiteY4" fmla="*/ 623336 h 1008193"/>
              <a:gd name="connsiteX0" fmla="*/ 3427 w 1587063"/>
              <a:gd name="connsiteY0" fmla="*/ 625707 h 1012202"/>
              <a:gd name="connsiteX1" fmla="*/ 596463 w 1587063"/>
              <a:gd name="connsiteY1" fmla="*/ 3148 h 1012202"/>
              <a:gd name="connsiteX2" fmla="*/ 1587063 w 1587063"/>
              <a:gd name="connsiteY2" fmla="*/ 446803 h 1012202"/>
              <a:gd name="connsiteX3" fmla="*/ 854879 w 1587063"/>
              <a:gd name="connsiteY3" fmla="*/ 1009727 h 1012202"/>
              <a:gd name="connsiteX4" fmla="*/ 3427 w 1587063"/>
              <a:gd name="connsiteY4" fmla="*/ 625707 h 1012202"/>
              <a:gd name="connsiteX0" fmla="*/ 1744 w 1585380"/>
              <a:gd name="connsiteY0" fmla="*/ 625707 h 1111014"/>
              <a:gd name="connsiteX1" fmla="*/ 594780 w 1585380"/>
              <a:gd name="connsiteY1" fmla="*/ 3148 h 1111014"/>
              <a:gd name="connsiteX2" fmla="*/ 1585380 w 1585380"/>
              <a:gd name="connsiteY2" fmla="*/ 446803 h 1111014"/>
              <a:gd name="connsiteX3" fmla="*/ 773683 w 1585380"/>
              <a:gd name="connsiteY3" fmla="*/ 1109118 h 1111014"/>
              <a:gd name="connsiteX4" fmla="*/ 1744 w 1585380"/>
              <a:gd name="connsiteY4" fmla="*/ 625707 h 11110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85380" h="1111014">
                <a:moveTo>
                  <a:pt x="1744" y="625707"/>
                </a:moveTo>
                <a:cubicBezTo>
                  <a:pt x="-28073" y="441379"/>
                  <a:pt x="330841" y="32965"/>
                  <a:pt x="594780" y="3148"/>
                </a:cubicBezTo>
                <a:cubicBezTo>
                  <a:pt x="858719" y="-26669"/>
                  <a:pt x="1585380" y="157865"/>
                  <a:pt x="1585380" y="446803"/>
                </a:cubicBezTo>
                <a:cubicBezTo>
                  <a:pt x="1585380" y="735741"/>
                  <a:pt x="1037622" y="1079301"/>
                  <a:pt x="773683" y="1109118"/>
                </a:cubicBezTo>
                <a:cubicBezTo>
                  <a:pt x="509744" y="1138935"/>
                  <a:pt x="31561" y="810035"/>
                  <a:pt x="1744" y="625707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  <a:alpha val="60000"/>
            </a:schemeClr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ctr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FillTx/>
                <a:latin typeface="Calibri"/>
                <a:ea typeface="Calibri"/>
                <a:cs typeface="Calibri"/>
                <a:sym typeface="Calibri"/>
              </a:rPr>
              <a:t>20%</a:t>
            </a:r>
          </a:p>
        </p:txBody>
      </p:sp>
      <p:sp>
        <p:nvSpPr>
          <p:cNvPr id="19" name="Elipse 4">
            <a:extLst>
              <a:ext uri="{FF2B5EF4-FFF2-40B4-BE49-F238E27FC236}">
                <a16:creationId xmlns:a16="http://schemas.microsoft.com/office/drawing/2014/main" xmlns="" id="{B41EAFD9-AB1C-4B6D-8466-08B107784F64}"/>
              </a:ext>
            </a:extLst>
          </p:cNvPr>
          <p:cNvSpPr/>
          <p:nvPr/>
        </p:nvSpPr>
        <p:spPr>
          <a:xfrm>
            <a:off x="8568600" y="6777475"/>
            <a:ext cx="1165211" cy="1111014"/>
          </a:xfrm>
          <a:custGeom>
            <a:avLst/>
            <a:gdLst>
              <a:gd name="connsiteX0" fmla="*/ 0 w 1583635"/>
              <a:gd name="connsiteY0" fmla="*/ 523168 h 1046335"/>
              <a:gd name="connsiteX1" fmla="*/ 791818 w 1583635"/>
              <a:gd name="connsiteY1" fmla="*/ 0 h 1046335"/>
              <a:gd name="connsiteX2" fmla="*/ 1583636 w 1583635"/>
              <a:gd name="connsiteY2" fmla="*/ 523168 h 1046335"/>
              <a:gd name="connsiteX3" fmla="*/ 791818 w 1583635"/>
              <a:gd name="connsiteY3" fmla="*/ 1046336 h 1046335"/>
              <a:gd name="connsiteX4" fmla="*/ 0 w 1583635"/>
              <a:gd name="connsiteY4" fmla="*/ 523168 h 1046335"/>
              <a:gd name="connsiteX0" fmla="*/ 3697 w 1587333"/>
              <a:gd name="connsiteY0" fmla="*/ 523168 h 1046336"/>
              <a:gd name="connsiteX1" fmla="*/ 596733 w 1587333"/>
              <a:gd name="connsiteY1" fmla="*/ 0 h 1046336"/>
              <a:gd name="connsiteX2" fmla="*/ 1587333 w 1587333"/>
              <a:gd name="connsiteY2" fmla="*/ 523168 h 1046336"/>
              <a:gd name="connsiteX3" fmla="*/ 795515 w 1587333"/>
              <a:gd name="connsiteY3" fmla="*/ 1046336 h 1046336"/>
              <a:gd name="connsiteX4" fmla="*/ 3697 w 1587333"/>
              <a:gd name="connsiteY4" fmla="*/ 523168 h 1046336"/>
              <a:gd name="connsiteX0" fmla="*/ 3697 w 1587333"/>
              <a:gd name="connsiteY0" fmla="*/ 546949 h 1070117"/>
              <a:gd name="connsiteX1" fmla="*/ 596733 w 1587333"/>
              <a:gd name="connsiteY1" fmla="*/ 23781 h 1070117"/>
              <a:gd name="connsiteX2" fmla="*/ 1587333 w 1587333"/>
              <a:gd name="connsiteY2" fmla="*/ 546949 h 1070117"/>
              <a:gd name="connsiteX3" fmla="*/ 795515 w 1587333"/>
              <a:gd name="connsiteY3" fmla="*/ 1070117 h 1070117"/>
              <a:gd name="connsiteX4" fmla="*/ 3697 w 1587333"/>
              <a:gd name="connsiteY4" fmla="*/ 546949 h 1070117"/>
              <a:gd name="connsiteX0" fmla="*/ 2120 w 1585756"/>
              <a:gd name="connsiteY0" fmla="*/ 623336 h 1047851"/>
              <a:gd name="connsiteX1" fmla="*/ 595156 w 1585756"/>
              <a:gd name="connsiteY1" fmla="*/ 777 h 1047851"/>
              <a:gd name="connsiteX2" fmla="*/ 1585756 w 1585756"/>
              <a:gd name="connsiteY2" fmla="*/ 523945 h 1047851"/>
              <a:gd name="connsiteX3" fmla="*/ 793938 w 1585756"/>
              <a:gd name="connsiteY3" fmla="*/ 1047113 h 1047851"/>
              <a:gd name="connsiteX4" fmla="*/ 2120 w 1585756"/>
              <a:gd name="connsiteY4" fmla="*/ 623336 h 1047851"/>
              <a:gd name="connsiteX0" fmla="*/ 3427 w 1587063"/>
              <a:gd name="connsiteY0" fmla="*/ 623336 h 1008193"/>
              <a:gd name="connsiteX1" fmla="*/ 596463 w 1587063"/>
              <a:gd name="connsiteY1" fmla="*/ 777 h 1008193"/>
              <a:gd name="connsiteX2" fmla="*/ 1587063 w 1587063"/>
              <a:gd name="connsiteY2" fmla="*/ 523945 h 1008193"/>
              <a:gd name="connsiteX3" fmla="*/ 854879 w 1587063"/>
              <a:gd name="connsiteY3" fmla="*/ 1007356 h 1008193"/>
              <a:gd name="connsiteX4" fmla="*/ 3427 w 1587063"/>
              <a:gd name="connsiteY4" fmla="*/ 623336 h 1008193"/>
              <a:gd name="connsiteX0" fmla="*/ 3427 w 1587063"/>
              <a:gd name="connsiteY0" fmla="*/ 625707 h 1012202"/>
              <a:gd name="connsiteX1" fmla="*/ 596463 w 1587063"/>
              <a:gd name="connsiteY1" fmla="*/ 3148 h 1012202"/>
              <a:gd name="connsiteX2" fmla="*/ 1587063 w 1587063"/>
              <a:gd name="connsiteY2" fmla="*/ 446803 h 1012202"/>
              <a:gd name="connsiteX3" fmla="*/ 854879 w 1587063"/>
              <a:gd name="connsiteY3" fmla="*/ 1009727 h 1012202"/>
              <a:gd name="connsiteX4" fmla="*/ 3427 w 1587063"/>
              <a:gd name="connsiteY4" fmla="*/ 625707 h 1012202"/>
              <a:gd name="connsiteX0" fmla="*/ 1744 w 1585380"/>
              <a:gd name="connsiteY0" fmla="*/ 625707 h 1111014"/>
              <a:gd name="connsiteX1" fmla="*/ 594780 w 1585380"/>
              <a:gd name="connsiteY1" fmla="*/ 3148 h 1111014"/>
              <a:gd name="connsiteX2" fmla="*/ 1585380 w 1585380"/>
              <a:gd name="connsiteY2" fmla="*/ 446803 h 1111014"/>
              <a:gd name="connsiteX3" fmla="*/ 773683 w 1585380"/>
              <a:gd name="connsiteY3" fmla="*/ 1109118 h 1111014"/>
              <a:gd name="connsiteX4" fmla="*/ 1744 w 1585380"/>
              <a:gd name="connsiteY4" fmla="*/ 625707 h 11110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85380" h="1111014">
                <a:moveTo>
                  <a:pt x="1744" y="625707"/>
                </a:moveTo>
                <a:cubicBezTo>
                  <a:pt x="-28073" y="441379"/>
                  <a:pt x="330841" y="32965"/>
                  <a:pt x="594780" y="3148"/>
                </a:cubicBezTo>
                <a:cubicBezTo>
                  <a:pt x="858719" y="-26669"/>
                  <a:pt x="1585380" y="157865"/>
                  <a:pt x="1585380" y="446803"/>
                </a:cubicBezTo>
                <a:cubicBezTo>
                  <a:pt x="1585380" y="735741"/>
                  <a:pt x="1037622" y="1079301"/>
                  <a:pt x="773683" y="1109118"/>
                </a:cubicBezTo>
                <a:cubicBezTo>
                  <a:pt x="509744" y="1138935"/>
                  <a:pt x="31561" y="810035"/>
                  <a:pt x="1744" y="625707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  <a:alpha val="60000"/>
            </a:schemeClr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ctr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FillTx/>
                <a:latin typeface="Calibri"/>
                <a:ea typeface="Calibri"/>
                <a:cs typeface="Calibri"/>
                <a:sym typeface="Calibri"/>
              </a:rPr>
              <a:t>15%</a:t>
            </a:r>
          </a:p>
        </p:txBody>
      </p:sp>
      <p:sp>
        <p:nvSpPr>
          <p:cNvPr id="20" name="Elipse 4">
            <a:extLst>
              <a:ext uri="{FF2B5EF4-FFF2-40B4-BE49-F238E27FC236}">
                <a16:creationId xmlns:a16="http://schemas.microsoft.com/office/drawing/2014/main" xmlns="" id="{3A140A9A-9966-44D0-85DE-7F4F5A52C7FB}"/>
              </a:ext>
            </a:extLst>
          </p:cNvPr>
          <p:cNvSpPr/>
          <p:nvPr/>
        </p:nvSpPr>
        <p:spPr>
          <a:xfrm>
            <a:off x="8568600" y="8163692"/>
            <a:ext cx="1165211" cy="1111014"/>
          </a:xfrm>
          <a:custGeom>
            <a:avLst/>
            <a:gdLst>
              <a:gd name="connsiteX0" fmla="*/ 0 w 1583635"/>
              <a:gd name="connsiteY0" fmla="*/ 523168 h 1046335"/>
              <a:gd name="connsiteX1" fmla="*/ 791818 w 1583635"/>
              <a:gd name="connsiteY1" fmla="*/ 0 h 1046335"/>
              <a:gd name="connsiteX2" fmla="*/ 1583636 w 1583635"/>
              <a:gd name="connsiteY2" fmla="*/ 523168 h 1046335"/>
              <a:gd name="connsiteX3" fmla="*/ 791818 w 1583635"/>
              <a:gd name="connsiteY3" fmla="*/ 1046336 h 1046335"/>
              <a:gd name="connsiteX4" fmla="*/ 0 w 1583635"/>
              <a:gd name="connsiteY4" fmla="*/ 523168 h 1046335"/>
              <a:gd name="connsiteX0" fmla="*/ 3697 w 1587333"/>
              <a:gd name="connsiteY0" fmla="*/ 523168 h 1046336"/>
              <a:gd name="connsiteX1" fmla="*/ 596733 w 1587333"/>
              <a:gd name="connsiteY1" fmla="*/ 0 h 1046336"/>
              <a:gd name="connsiteX2" fmla="*/ 1587333 w 1587333"/>
              <a:gd name="connsiteY2" fmla="*/ 523168 h 1046336"/>
              <a:gd name="connsiteX3" fmla="*/ 795515 w 1587333"/>
              <a:gd name="connsiteY3" fmla="*/ 1046336 h 1046336"/>
              <a:gd name="connsiteX4" fmla="*/ 3697 w 1587333"/>
              <a:gd name="connsiteY4" fmla="*/ 523168 h 1046336"/>
              <a:gd name="connsiteX0" fmla="*/ 3697 w 1587333"/>
              <a:gd name="connsiteY0" fmla="*/ 546949 h 1070117"/>
              <a:gd name="connsiteX1" fmla="*/ 596733 w 1587333"/>
              <a:gd name="connsiteY1" fmla="*/ 23781 h 1070117"/>
              <a:gd name="connsiteX2" fmla="*/ 1587333 w 1587333"/>
              <a:gd name="connsiteY2" fmla="*/ 546949 h 1070117"/>
              <a:gd name="connsiteX3" fmla="*/ 795515 w 1587333"/>
              <a:gd name="connsiteY3" fmla="*/ 1070117 h 1070117"/>
              <a:gd name="connsiteX4" fmla="*/ 3697 w 1587333"/>
              <a:gd name="connsiteY4" fmla="*/ 546949 h 1070117"/>
              <a:gd name="connsiteX0" fmla="*/ 2120 w 1585756"/>
              <a:gd name="connsiteY0" fmla="*/ 623336 h 1047851"/>
              <a:gd name="connsiteX1" fmla="*/ 595156 w 1585756"/>
              <a:gd name="connsiteY1" fmla="*/ 777 h 1047851"/>
              <a:gd name="connsiteX2" fmla="*/ 1585756 w 1585756"/>
              <a:gd name="connsiteY2" fmla="*/ 523945 h 1047851"/>
              <a:gd name="connsiteX3" fmla="*/ 793938 w 1585756"/>
              <a:gd name="connsiteY3" fmla="*/ 1047113 h 1047851"/>
              <a:gd name="connsiteX4" fmla="*/ 2120 w 1585756"/>
              <a:gd name="connsiteY4" fmla="*/ 623336 h 1047851"/>
              <a:gd name="connsiteX0" fmla="*/ 3427 w 1587063"/>
              <a:gd name="connsiteY0" fmla="*/ 623336 h 1008193"/>
              <a:gd name="connsiteX1" fmla="*/ 596463 w 1587063"/>
              <a:gd name="connsiteY1" fmla="*/ 777 h 1008193"/>
              <a:gd name="connsiteX2" fmla="*/ 1587063 w 1587063"/>
              <a:gd name="connsiteY2" fmla="*/ 523945 h 1008193"/>
              <a:gd name="connsiteX3" fmla="*/ 854879 w 1587063"/>
              <a:gd name="connsiteY3" fmla="*/ 1007356 h 1008193"/>
              <a:gd name="connsiteX4" fmla="*/ 3427 w 1587063"/>
              <a:gd name="connsiteY4" fmla="*/ 623336 h 1008193"/>
              <a:gd name="connsiteX0" fmla="*/ 3427 w 1587063"/>
              <a:gd name="connsiteY0" fmla="*/ 625707 h 1012202"/>
              <a:gd name="connsiteX1" fmla="*/ 596463 w 1587063"/>
              <a:gd name="connsiteY1" fmla="*/ 3148 h 1012202"/>
              <a:gd name="connsiteX2" fmla="*/ 1587063 w 1587063"/>
              <a:gd name="connsiteY2" fmla="*/ 446803 h 1012202"/>
              <a:gd name="connsiteX3" fmla="*/ 854879 w 1587063"/>
              <a:gd name="connsiteY3" fmla="*/ 1009727 h 1012202"/>
              <a:gd name="connsiteX4" fmla="*/ 3427 w 1587063"/>
              <a:gd name="connsiteY4" fmla="*/ 625707 h 1012202"/>
              <a:gd name="connsiteX0" fmla="*/ 1744 w 1585380"/>
              <a:gd name="connsiteY0" fmla="*/ 625707 h 1111014"/>
              <a:gd name="connsiteX1" fmla="*/ 594780 w 1585380"/>
              <a:gd name="connsiteY1" fmla="*/ 3148 h 1111014"/>
              <a:gd name="connsiteX2" fmla="*/ 1585380 w 1585380"/>
              <a:gd name="connsiteY2" fmla="*/ 446803 h 1111014"/>
              <a:gd name="connsiteX3" fmla="*/ 773683 w 1585380"/>
              <a:gd name="connsiteY3" fmla="*/ 1109118 h 1111014"/>
              <a:gd name="connsiteX4" fmla="*/ 1744 w 1585380"/>
              <a:gd name="connsiteY4" fmla="*/ 625707 h 11110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85380" h="1111014">
                <a:moveTo>
                  <a:pt x="1744" y="625707"/>
                </a:moveTo>
                <a:cubicBezTo>
                  <a:pt x="-28073" y="441379"/>
                  <a:pt x="330841" y="32965"/>
                  <a:pt x="594780" y="3148"/>
                </a:cubicBezTo>
                <a:cubicBezTo>
                  <a:pt x="858719" y="-26669"/>
                  <a:pt x="1585380" y="157865"/>
                  <a:pt x="1585380" y="446803"/>
                </a:cubicBezTo>
                <a:cubicBezTo>
                  <a:pt x="1585380" y="735741"/>
                  <a:pt x="1037622" y="1079301"/>
                  <a:pt x="773683" y="1109118"/>
                </a:cubicBezTo>
                <a:cubicBezTo>
                  <a:pt x="509744" y="1138935"/>
                  <a:pt x="31561" y="810035"/>
                  <a:pt x="1744" y="625707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  <a:alpha val="60000"/>
            </a:schemeClr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ctr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FillTx/>
                <a:latin typeface="Calibri"/>
                <a:ea typeface="Calibri"/>
                <a:cs typeface="Calibri"/>
                <a:sym typeface="Calibri"/>
              </a:rPr>
              <a:t>15%</a:t>
            </a:r>
          </a:p>
        </p:txBody>
      </p:sp>
      <p:sp>
        <p:nvSpPr>
          <p:cNvPr id="21" name="Elipse 4">
            <a:extLst>
              <a:ext uri="{FF2B5EF4-FFF2-40B4-BE49-F238E27FC236}">
                <a16:creationId xmlns:a16="http://schemas.microsoft.com/office/drawing/2014/main" xmlns="" id="{9C4A1E24-2702-4E68-B60B-B5BA9CB4D078}"/>
              </a:ext>
            </a:extLst>
          </p:cNvPr>
          <p:cNvSpPr/>
          <p:nvPr/>
        </p:nvSpPr>
        <p:spPr>
          <a:xfrm>
            <a:off x="8568600" y="9833466"/>
            <a:ext cx="1165211" cy="1111014"/>
          </a:xfrm>
          <a:custGeom>
            <a:avLst/>
            <a:gdLst>
              <a:gd name="connsiteX0" fmla="*/ 0 w 1583635"/>
              <a:gd name="connsiteY0" fmla="*/ 523168 h 1046335"/>
              <a:gd name="connsiteX1" fmla="*/ 791818 w 1583635"/>
              <a:gd name="connsiteY1" fmla="*/ 0 h 1046335"/>
              <a:gd name="connsiteX2" fmla="*/ 1583636 w 1583635"/>
              <a:gd name="connsiteY2" fmla="*/ 523168 h 1046335"/>
              <a:gd name="connsiteX3" fmla="*/ 791818 w 1583635"/>
              <a:gd name="connsiteY3" fmla="*/ 1046336 h 1046335"/>
              <a:gd name="connsiteX4" fmla="*/ 0 w 1583635"/>
              <a:gd name="connsiteY4" fmla="*/ 523168 h 1046335"/>
              <a:gd name="connsiteX0" fmla="*/ 3697 w 1587333"/>
              <a:gd name="connsiteY0" fmla="*/ 523168 h 1046336"/>
              <a:gd name="connsiteX1" fmla="*/ 596733 w 1587333"/>
              <a:gd name="connsiteY1" fmla="*/ 0 h 1046336"/>
              <a:gd name="connsiteX2" fmla="*/ 1587333 w 1587333"/>
              <a:gd name="connsiteY2" fmla="*/ 523168 h 1046336"/>
              <a:gd name="connsiteX3" fmla="*/ 795515 w 1587333"/>
              <a:gd name="connsiteY3" fmla="*/ 1046336 h 1046336"/>
              <a:gd name="connsiteX4" fmla="*/ 3697 w 1587333"/>
              <a:gd name="connsiteY4" fmla="*/ 523168 h 1046336"/>
              <a:gd name="connsiteX0" fmla="*/ 3697 w 1587333"/>
              <a:gd name="connsiteY0" fmla="*/ 546949 h 1070117"/>
              <a:gd name="connsiteX1" fmla="*/ 596733 w 1587333"/>
              <a:gd name="connsiteY1" fmla="*/ 23781 h 1070117"/>
              <a:gd name="connsiteX2" fmla="*/ 1587333 w 1587333"/>
              <a:gd name="connsiteY2" fmla="*/ 546949 h 1070117"/>
              <a:gd name="connsiteX3" fmla="*/ 795515 w 1587333"/>
              <a:gd name="connsiteY3" fmla="*/ 1070117 h 1070117"/>
              <a:gd name="connsiteX4" fmla="*/ 3697 w 1587333"/>
              <a:gd name="connsiteY4" fmla="*/ 546949 h 1070117"/>
              <a:gd name="connsiteX0" fmla="*/ 2120 w 1585756"/>
              <a:gd name="connsiteY0" fmla="*/ 623336 h 1047851"/>
              <a:gd name="connsiteX1" fmla="*/ 595156 w 1585756"/>
              <a:gd name="connsiteY1" fmla="*/ 777 h 1047851"/>
              <a:gd name="connsiteX2" fmla="*/ 1585756 w 1585756"/>
              <a:gd name="connsiteY2" fmla="*/ 523945 h 1047851"/>
              <a:gd name="connsiteX3" fmla="*/ 793938 w 1585756"/>
              <a:gd name="connsiteY3" fmla="*/ 1047113 h 1047851"/>
              <a:gd name="connsiteX4" fmla="*/ 2120 w 1585756"/>
              <a:gd name="connsiteY4" fmla="*/ 623336 h 1047851"/>
              <a:gd name="connsiteX0" fmla="*/ 3427 w 1587063"/>
              <a:gd name="connsiteY0" fmla="*/ 623336 h 1008193"/>
              <a:gd name="connsiteX1" fmla="*/ 596463 w 1587063"/>
              <a:gd name="connsiteY1" fmla="*/ 777 h 1008193"/>
              <a:gd name="connsiteX2" fmla="*/ 1587063 w 1587063"/>
              <a:gd name="connsiteY2" fmla="*/ 523945 h 1008193"/>
              <a:gd name="connsiteX3" fmla="*/ 854879 w 1587063"/>
              <a:gd name="connsiteY3" fmla="*/ 1007356 h 1008193"/>
              <a:gd name="connsiteX4" fmla="*/ 3427 w 1587063"/>
              <a:gd name="connsiteY4" fmla="*/ 623336 h 1008193"/>
              <a:gd name="connsiteX0" fmla="*/ 3427 w 1587063"/>
              <a:gd name="connsiteY0" fmla="*/ 625707 h 1012202"/>
              <a:gd name="connsiteX1" fmla="*/ 596463 w 1587063"/>
              <a:gd name="connsiteY1" fmla="*/ 3148 h 1012202"/>
              <a:gd name="connsiteX2" fmla="*/ 1587063 w 1587063"/>
              <a:gd name="connsiteY2" fmla="*/ 446803 h 1012202"/>
              <a:gd name="connsiteX3" fmla="*/ 854879 w 1587063"/>
              <a:gd name="connsiteY3" fmla="*/ 1009727 h 1012202"/>
              <a:gd name="connsiteX4" fmla="*/ 3427 w 1587063"/>
              <a:gd name="connsiteY4" fmla="*/ 625707 h 1012202"/>
              <a:gd name="connsiteX0" fmla="*/ 1744 w 1585380"/>
              <a:gd name="connsiteY0" fmla="*/ 625707 h 1111014"/>
              <a:gd name="connsiteX1" fmla="*/ 594780 w 1585380"/>
              <a:gd name="connsiteY1" fmla="*/ 3148 h 1111014"/>
              <a:gd name="connsiteX2" fmla="*/ 1585380 w 1585380"/>
              <a:gd name="connsiteY2" fmla="*/ 446803 h 1111014"/>
              <a:gd name="connsiteX3" fmla="*/ 773683 w 1585380"/>
              <a:gd name="connsiteY3" fmla="*/ 1109118 h 1111014"/>
              <a:gd name="connsiteX4" fmla="*/ 1744 w 1585380"/>
              <a:gd name="connsiteY4" fmla="*/ 625707 h 11110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85380" h="1111014">
                <a:moveTo>
                  <a:pt x="1744" y="625707"/>
                </a:moveTo>
                <a:cubicBezTo>
                  <a:pt x="-28073" y="441379"/>
                  <a:pt x="330841" y="32965"/>
                  <a:pt x="594780" y="3148"/>
                </a:cubicBezTo>
                <a:cubicBezTo>
                  <a:pt x="858719" y="-26669"/>
                  <a:pt x="1585380" y="157865"/>
                  <a:pt x="1585380" y="446803"/>
                </a:cubicBezTo>
                <a:cubicBezTo>
                  <a:pt x="1585380" y="735741"/>
                  <a:pt x="1037622" y="1079301"/>
                  <a:pt x="773683" y="1109118"/>
                </a:cubicBezTo>
                <a:cubicBezTo>
                  <a:pt x="509744" y="1138935"/>
                  <a:pt x="31561" y="810035"/>
                  <a:pt x="1744" y="625707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  <a:alpha val="60000"/>
            </a:schemeClr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ctr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FillTx/>
                <a:latin typeface="Calibri"/>
                <a:ea typeface="Calibri"/>
                <a:cs typeface="Calibri"/>
                <a:sym typeface="Calibri"/>
              </a:rPr>
              <a:t>15%</a:t>
            </a:r>
          </a:p>
        </p:txBody>
      </p:sp>
    </p:spTree>
    <p:extLst>
      <p:ext uri="{BB962C8B-B14F-4D97-AF65-F5344CB8AC3E}">
        <p14:creationId xmlns:p14="http://schemas.microsoft.com/office/powerpoint/2010/main" val="4058369830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3" grpId="0" animBg="1"/>
      <p:bldP spid="15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to 11" hidden="1">
            <a:extLst>
              <a:ext uri="{FF2B5EF4-FFF2-40B4-BE49-F238E27FC236}">
                <a16:creationId xmlns:a16="http://schemas.microsoft.com/office/drawing/2014/main" xmlns="" id="{23A450B0-2B61-4D20-94CA-45F5673B6D4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84" name="Slide do think-cell" r:id="rId5" imgW="425" imgH="426" progId="TCLayout.ActiveDocument.1">
                  <p:embed/>
                </p:oleObj>
              </mc:Choice>
              <mc:Fallback>
                <p:oleObj name="Slide do think-cell" r:id="rId5" imgW="425" imgH="426" progId="TCLayout.ActiveDocument.1">
                  <p:embed/>
                  <p:pic>
                    <p:nvPicPr>
                      <p:cNvPr id="12" name="Objeto 11" hidden="1">
                        <a:extLst>
                          <a:ext uri="{FF2B5EF4-FFF2-40B4-BE49-F238E27FC236}">
                            <a16:creationId xmlns:a16="http://schemas.microsoft.com/office/drawing/2014/main" xmlns="" id="{23A450B0-2B61-4D20-94CA-45F5673B6D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ítulo 1">
            <a:extLst>
              <a:ext uri="{FF2B5EF4-FFF2-40B4-BE49-F238E27FC236}">
                <a16:creationId xmlns:a16="http://schemas.microsoft.com/office/drawing/2014/main" xmlns="" id="{6D714A12-E139-4CEB-86D8-220787FE4583}"/>
              </a:ext>
            </a:extLst>
          </p:cNvPr>
          <p:cNvSpPr txBox="1">
            <a:spLocks/>
          </p:cNvSpPr>
          <p:nvPr/>
        </p:nvSpPr>
        <p:spPr>
          <a:xfrm>
            <a:off x="550492" y="372411"/>
            <a:ext cx="24384000" cy="1316792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4800" b="1">
                <a:solidFill>
                  <a:srgbClr val="F44F1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Bandeiras ABRACEEL 2022 - 2025</a:t>
            </a:r>
          </a:p>
        </p:txBody>
      </p:sp>
      <p:sp>
        <p:nvSpPr>
          <p:cNvPr id="2" name="Retângulo 1">
            <a:extLst>
              <a:ext uri="{FF2B5EF4-FFF2-40B4-BE49-F238E27FC236}">
                <a16:creationId xmlns:a16="http://schemas.microsoft.com/office/drawing/2014/main" xmlns="" id="{3105BBCC-DA5C-477E-86C5-B4B8C304988C}"/>
              </a:ext>
            </a:extLst>
          </p:cNvPr>
          <p:cNvSpPr/>
          <p:nvPr/>
        </p:nvSpPr>
        <p:spPr>
          <a:xfrm>
            <a:off x="7861938" y="1265634"/>
            <a:ext cx="15326904" cy="12022169"/>
          </a:xfrm>
          <a:prstGeom prst="rect">
            <a:avLst/>
          </a:prstGeom>
          <a:solidFill>
            <a:srgbClr val="FFFFFF">
              <a:alpha val="50000"/>
            </a:srgbClr>
          </a:solidFill>
          <a:ln w="25400" cap="flat">
            <a:solidFill>
              <a:srgbClr val="F44F15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R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44F15"/>
              </a:buClr>
              <a:buSzTx/>
              <a:tabLst/>
            </a:pPr>
            <a:endParaRPr kumimoji="0" lang="pt-BR" b="1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Calibri"/>
            </a:endParaRPr>
          </a:p>
        </p:txBody>
      </p:sp>
      <p:sp>
        <p:nvSpPr>
          <p:cNvPr id="10" name="Retângulo 9">
            <a:extLst>
              <a:ext uri="{FF2B5EF4-FFF2-40B4-BE49-F238E27FC236}">
                <a16:creationId xmlns:a16="http://schemas.microsoft.com/office/drawing/2014/main" xmlns="" id="{B6A45E3E-D6DF-464C-B881-2D694EA4A797}"/>
              </a:ext>
            </a:extLst>
          </p:cNvPr>
          <p:cNvSpPr/>
          <p:nvPr/>
        </p:nvSpPr>
        <p:spPr>
          <a:xfrm>
            <a:off x="978589" y="1265635"/>
            <a:ext cx="6804000" cy="12022169"/>
          </a:xfrm>
          <a:prstGeom prst="rect">
            <a:avLst/>
          </a:prstGeom>
          <a:solidFill>
            <a:srgbClr val="C00000"/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" name="Elipse 3">
            <a:extLst>
              <a:ext uri="{FF2B5EF4-FFF2-40B4-BE49-F238E27FC236}">
                <a16:creationId xmlns:a16="http://schemas.microsoft.com/office/drawing/2014/main" xmlns="" id="{0A717856-B6BC-4F77-BD19-37C42F9DA080}"/>
              </a:ext>
            </a:extLst>
          </p:cNvPr>
          <p:cNvSpPr/>
          <p:nvPr/>
        </p:nvSpPr>
        <p:spPr>
          <a:xfrm>
            <a:off x="1057938" y="1602543"/>
            <a:ext cx="1407557" cy="1292661"/>
          </a:xfrm>
          <a:custGeom>
            <a:avLst/>
            <a:gdLst>
              <a:gd name="connsiteX0" fmla="*/ 0 w 3233132"/>
              <a:gd name="connsiteY0" fmla="*/ 1591757 h 3183514"/>
              <a:gd name="connsiteX1" fmla="*/ 1616566 w 3233132"/>
              <a:gd name="connsiteY1" fmla="*/ 0 h 3183514"/>
              <a:gd name="connsiteX2" fmla="*/ 3233132 w 3233132"/>
              <a:gd name="connsiteY2" fmla="*/ 1591757 h 3183514"/>
              <a:gd name="connsiteX3" fmla="*/ 1616566 w 3233132"/>
              <a:gd name="connsiteY3" fmla="*/ 3183514 h 3183514"/>
              <a:gd name="connsiteX4" fmla="*/ 0 w 3233132"/>
              <a:gd name="connsiteY4" fmla="*/ 1591757 h 3183514"/>
              <a:gd name="connsiteX0" fmla="*/ 4861 w 3237993"/>
              <a:gd name="connsiteY0" fmla="*/ 1485431 h 3077188"/>
              <a:gd name="connsiteX1" fmla="*/ 1281185 w 3237993"/>
              <a:gd name="connsiteY1" fmla="*/ 0 h 3077188"/>
              <a:gd name="connsiteX2" fmla="*/ 3237993 w 3237993"/>
              <a:gd name="connsiteY2" fmla="*/ 1485431 h 3077188"/>
              <a:gd name="connsiteX3" fmla="*/ 1621427 w 3237993"/>
              <a:gd name="connsiteY3" fmla="*/ 3077188 h 3077188"/>
              <a:gd name="connsiteX4" fmla="*/ 4861 w 3237993"/>
              <a:gd name="connsiteY4" fmla="*/ 1485431 h 3077188"/>
              <a:gd name="connsiteX0" fmla="*/ 4861 w 3237993"/>
              <a:gd name="connsiteY0" fmla="*/ 1485431 h 2885802"/>
              <a:gd name="connsiteX1" fmla="*/ 1281185 w 3237993"/>
              <a:gd name="connsiteY1" fmla="*/ 0 h 2885802"/>
              <a:gd name="connsiteX2" fmla="*/ 3237993 w 3237993"/>
              <a:gd name="connsiteY2" fmla="*/ 1485431 h 2885802"/>
              <a:gd name="connsiteX3" fmla="*/ 1621427 w 3237993"/>
              <a:gd name="connsiteY3" fmla="*/ 2885802 h 2885802"/>
              <a:gd name="connsiteX4" fmla="*/ 4861 w 3237993"/>
              <a:gd name="connsiteY4" fmla="*/ 1485431 h 2885802"/>
              <a:gd name="connsiteX0" fmla="*/ 2785 w 3065796"/>
              <a:gd name="connsiteY0" fmla="*/ 1485446 h 2885827"/>
              <a:gd name="connsiteX1" fmla="*/ 1279109 w 3065796"/>
              <a:gd name="connsiteY1" fmla="*/ 15 h 2885827"/>
              <a:gd name="connsiteX2" fmla="*/ 3065796 w 3065796"/>
              <a:gd name="connsiteY2" fmla="*/ 1464180 h 2885827"/>
              <a:gd name="connsiteX3" fmla="*/ 1619351 w 3065796"/>
              <a:gd name="connsiteY3" fmla="*/ 2885817 h 2885827"/>
              <a:gd name="connsiteX4" fmla="*/ 2785 w 3065796"/>
              <a:gd name="connsiteY4" fmla="*/ 1485446 h 28858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65796" h="2885827">
                <a:moveTo>
                  <a:pt x="2785" y="1485446"/>
                </a:moveTo>
                <a:cubicBezTo>
                  <a:pt x="-53922" y="1004479"/>
                  <a:pt x="768607" y="3559"/>
                  <a:pt x="1279109" y="15"/>
                </a:cubicBezTo>
                <a:cubicBezTo>
                  <a:pt x="1789611" y="-3529"/>
                  <a:pt x="3065796" y="585077"/>
                  <a:pt x="3065796" y="1464180"/>
                </a:cubicBezTo>
                <a:cubicBezTo>
                  <a:pt x="3065796" y="2343283"/>
                  <a:pt x="2129853" y="2882273"/>
                  <a:pt x="1619351" y="2885817"/>
                </a:cubicBezTo>
                <a:cubicBezTo>
                  <a:pt x="1108849" y="2889361"/>
                  <a:pt x="59492" y="1966413"/>
                  <a:pt x="2785" y="1485446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  <a:alpha val="50000"/>
            </a:schemeClr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18" name="Conector reto 17">
            <a:extLst>
              <a:ext uri="{FF2B5EF4-FFF2-40B4-BE49-F238E27FC236}">
                <a16:creationId xmlns:a16="http://schemas.microsoft.com/office/drawing/2014/main" xmlns="" id="{0892AA61-E387-4F1A-9DC1-B4AF22A8ECCD}"/>
              </a:ext>
            </a:extLst>
          </p:cNvPr>
          <p:cNvCxnSpPr>
            <a:cxnSpLocks/>
          </p:cNvCxnSpPr>
          <p:nvPr/>
        </p:nvCxnSpPr>
        <p:spPr>
          <a:xfrm>
            <a:off x="2597503" y="1360759"/>
            <a:ext cx="0" cy="2709223"/>
          </a:xfrm>
          <a:prstGeom prst="line">
            <a:avLst/>
          </a:prstGeom>
          <a:noFill/>
          <a:ln w="63500" cap="flat">
            <a:solidFill>
              <a:schemeClr val="bg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9" name="CaixaDeTexto 18">
            <a:extLst>
              <a:ext uri="{FF2B5EF4-FFF2-40B4-BE49-F238E27FC236}">
                <a16:creationId xmlns:a16="http://schemas.microsoft.com/office/drawing/2014/main" xmlns="" id="{C98279EF-922D-41BA-B71B-28E9773A6BCE}"/>
              </a:ext>
            </a:extLst>
          </p:cNvPr>
          <p:cNvSpPr txBox="1"/>
          <p:nvPr/>
        </p:nvSpPr>
        <p:spPr>
          <a:xfrm>
            <a:off x="2808387" y="1360759"/>
            <a:ext cx="3830707" cy="2769987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5400" b="1">
                <a:solidFill>
                  <a:schemeClr val="bg1"/>
                </a:solidFill>
              </a:rPr>
              <a:t>Formação de Preços</a:t>
            </a:r>
          </a:p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6000" i="1">
                <a:solidFill>
                  <a:schemeClr val="accent2">
                    <a:lumMod val="40000"/>
                    <a:lumOff val="60000"/>
                  </a:schemeClr>
                </a:solidFill>
              </a:rPr>
              <a:t>31%</a:t>
            </a:r>
            <a:endParaRPr kumimoji="0" lang="pt-BR" sz="6000" i="1" u="none" strike="noStrike" cap="none" spc="0" normalizeH="0" baseline="0">
              <a:ln>
                <a:noFill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  <a:uFillTx/>
              <a:sym typeface="Calibri"/>
            </a:endParaRPr>
          </a:p>
        </p:txBody>
      </p:sp>
      <p:pic>
        <p:nvPicPr>
          <p:cNvPr id="20" name="Imagem 19">
            <a:extLst>
              <a:ext uri="{FF2B5EF4-FFF2-40B4-BE49-F238E27FC236}">
                <a16:creationId xmlns:a16="http://schemas.microsoft.com/office/drawing/2014/main" xmlns="" id="{D2B5CD22-25D7-4CC5-976E-E9A3295110A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4939" y="1662661"/>
            <a:ext cx="1211049" cy="1211049"/>
          </a:xfrm>
          <a:prstGeom prst="rect">
            <a:avLst/>
          </a:prstGeom>
        </p:spPr>
      </p:pic>
      <p:sp>
        <p:nvSpPr>
          <p:cNvPr id="11" name="Elipse 4">
            <a:extLst>
              <a:ext uri="{FF2B5EF4-FFF2-40B4-BE49-F238E27FC236}">
                <a16:creationId xmlns:a16="http://schemas.microsoft.com/office/drawing/2014/main" xmlns="" id="{F7844334-774A-46B3-B9B2-CEBA2BC05907}"/>
              </a:ext>
            </a:extLst>
          </p:cNvPr>
          <p:cNvSpPr/>
          <p:nvPr/>
        </p:nvSpPr>
        <p:spPr>
          <a:xfrm>
            <a:off x="7914597" y="4379589"/>
            <a:ext cx="1165211" cy="1111014"/>
          </a:xfrm>
          <a:custGeom>
            <a:avLst/>
            <a:gdLst>
              <a:gd name="connsiteX0" fmla="*/ 0 w 1583635"/>
              <a:gd name="connsiteY0" fmla="*/ 523168 h 1046335"/>
              <a:gd name="connsiteX1" fmla="*/ 791818 w 1583635"/>
              <a:gd name="connsiteY1" fmla="*/ 0 h 1046335"/>
              <a:gd name="connsiteX2" fmla="*/ 1583636 w 1583635"/>
              <a:gd name="connsiteY2" fmla="*/ 523168 h 1046335"/>
              <a:gd name="connsiteX3" fmla="*/ 791818 w 1583635"/>
              <a:gd name="connsiteY3" fmla="*/ 1046336 h 1046335"/>
              <a:gd name="connsiteX4" fmla="*/ 0 w 1583635"/>
              <a:gd name="connsiteY4" fmla="*/ 523168 h 1046335"/>
              <a:gd name="connsiteX0" fmla="*/ 3697 w 1587333"/>
              <a:gd name="connsiteY0" fmla="*/ 523168 h 1046336"/>
              <a:gd name="connsiteX1" fmla="*/ 596733 w 1587333"/>
              <a:gd name="connsiteY1" fmla="*/ 0 h 1046336"/>
              <a:gd name="connsiteX2" fmla="*/ 1587333 w 1587333"/>
              <a:gd name="connsiteY2" fmla="*/ 523168 h 1046336"/>
              <a:gd name="connsiteX3" fmla="*/ 795515 w 1587333"/>
              <a:gd name="connsiteY3" fmla="*/ 1046336 h 1046336"/>
              <a:gd name="connsiteX4" fmla="*/ 3697 w 1587333"/>
              <a:gd name="connsiteY4" fmla="*/ 523168 h 1046336"/>
              <a:gd name="connsiteX0" fmla="*/ 3697 w 1587333"/>
              <a:gd name="connsiteY0" fmla="*/ 546949 h 1070117"/>
              <a:gd name="connsiteX1" fmla="*/ 596733 w 1587333"/>
              <a:gd name="connsiteY1" fmla="*/ 23781 h 1070117"/>
              <a:gd name="connsiteX2" fmla="*/ 1587333 w 1587333"/>
              <a:gd name="connsiteY2" fmla="*/ 546949 h 1070117"/>
              <a:gd name="connsiteX3" fmla="*/ 795515 w 1587333"/>
              <a:gd name="connsiteY3" fmla="*/ 1070117 h 1070117"/>
              <a:gd name="connsiteX4" fmla="*/ 3697 w 1587333"/>
              <a:gd name="connsiteY4" fmla="*/ 546949 h 1070117"/>
              <a:gd name="connsiteX0" fmla="*/ 2120 w 1585756"/>
              <a:gd name="connsiteY0" fmla="*/ 623336 h 1047851"/>
              <a:gd name="connsiteX1" fmla="*/ 595156 w 1585756"/>
              <a:gd name="connsiteY1" fmla="*/ 777 h 1047851"/>
              <a:gd name="connsiteX2" fmla="*/ 1585756 w 1585756"/>
              <a:gd name="connsiteY2" fmla="*/ 523945 h 1047851"/>
              <a:gd name="connsiteX3" fmla="*/ 793938 w 1585756"/>
              <a:gd name="connsiteY3" fmla="*/ 1047113 h 1047851"/>
              <a:gd name="connsiteX4" fmla="*/ 2120 w 1585756"/>
              <a:gd name="connsiteY4" fmla="*/ 623336 h 1047851"/>
              <a:gd name="connsiteX0" fmla="*/ 3427 w 1587063"/>
              <a:gd name="connsiteY0" fmla="*/ 623336 h 1008193"/>
              <a:gd name="connsiteX1" fmla="*/ 596463 w 1587063"/>
              <a:gd name="connsiteY1" fmla="*/ 777 h 1008193"/>
              <a:gd name="connsiteX2" fmla="*/ 1587063 w 1587063"/>
              <a:gd name="connsiteY2" fmla="*/ 523945 h 1008193"/>
              <a:gd name="connsiteX3" fmla="*/ 854879 w 1587063"/>
              <a:gd name="connsiteY3" fmla="*/ 1007356 h 1008193"/>
              <a:gd name="connsiteX4" fmla="*/ 3427 w 1587063"/>
              <a:gd name="connsiteY4" fmla="*/ 623336 h 1008193"/>
              <a:gd name="connsiteX0" fmla="*/ 3427 w 1587063"/>
              <a:gd name="connsiteY0" fmla="*/ 625707 h 1012202"/>
              <a:gd name="connsiteX1" fmla="*/ 596463 w 1587063"/>
              <a:gd name="connsiteY1" fmla="*/ 3148 h 1012202"/>
              <a:gd name="connsiteX2" fmla="*/ 1587063 w 1587063"/>
              <a:gd name="connsiteY2" fmla="*/ 446803 h 1012202"/>
              <a:gd name="connsiteX3" fmla="*/ 854879 w 1587063"/>
              <a:gd name="connsiteY3" fmla="*/ 1009727 h 1012202"/>
              <a:gd name="connsiteX4" fmla="*/ 3427 w 1587063"/>
              <a:gd name="connsiteY4" fmla="*/ 625707 h 1012202"/>
              <a:gd name="connsiteX0" fmla="*/ 1744 w 1585380"/>
              <a:gd name="connsiteY0" fmla="*/ 625707 h 1111014"/>
              <a:gd name="connsiteX1" fmla="*/ 594780 w 1585380"/>
              <a:gd name="connsiteY1" fmla="*/ 3148 h 1111014"/>
              <a:gd name="connsiteX2" fmla="*/ 1585380 w 1585380"/>
              <a:gd name="connsiteY2" fmla="*/ 446803 h 1111014"/>
              <a:gd name="connsiteX3" fmla="*/ 773683 w 1585380"/>
              <a:gd name="connsiteY3" fmla="*/ 1109118 h 1111014"/>
              <a:gd name="connsiteX4" fmla="*/ 1744 w 1585380"/>
              <a:gd name="connsiteY4" fmla="*/ 625707 h 11110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85380" h="1111014">
                <a:moveTo>
                  <a:pt x="1744" y="625707"/>
                </a:moveTo>
                <a:cubicBezTo>
                  <a:pt x="-28073" y="441379"/>
                  <a:pt x="330841" y="32965"/>
                  <a:pt x="594780" y="3148"/>
                </a:cubicBezTo>
                <a:cubicBezTo>
                  <a:pt x="858719" y="-26669"/>
                  <a:pt x="1585380" y="157865"/>
                  <a:pt x="1585380" y="446803"/>
                </a:cubicBezTo>
                <a:cubicBezTo>
                  <a:pt x="1585380" y="735741"/>
                  <a:pt x="1037622" y="1079301"/>
                  <a:pt x="773683" y="1109118"/>
                </a:cubicBezTo>
                <a:cubicBezTo>
                  <a:pt x="509744" y="1138935"/>
                  <a:pt x="31561" y="810035"/>
                  <a:pt x="1744" y="625707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  <a:alpha val="60000"/>
            </a:schemeClr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ctr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40</a:t>
            </a:r>
            <a:r>
              <a:rPr kumimoji="0" lang="pt-BR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FillTx/>
                <a:latin typeface="Calibri"/>
                <a:ea typeface="Calibri"/>
                <a:cs typeface="Calibri"/>
                <a:sym typeface="Calibri"/>
              </a:rPr>
              <a:t>%</a:t>
            </a:r>
          </a:p>
        </p:txBody>
      </p:sp>
      <p:sp>
        <p:nvSpPr>
          <p:cNvPr id="13" name="Elipse 4">
            <a:extLst>
              <a:ext uri="{FF2B5EF4-FFF2-40B4-BE49-F238E27FC236}">
                <a16:creationId xmlns:a16="http://schemas.microsoft.com/office/drawing/2014/main" xmlns="" id="{C8CC819A-C8CF-4182-AC4A-F5A32A97DAB8}"/>
              </a:ext>
            </a:extLst>
          </p:cNvPr>
          <p:cNvSpPr/>
          <p:nvPr/>
        </p:nvSpPr>
        <p:spPr>
          <a:xfrm>
            <a:off x="7914597" y="6302493"/>
            <a:ext cx="1165211" cy="1111014"/>
          </a:xfrm>
          <a:custGeom>
            <a:avLst/>
            <a:gdLst>
              <a:gd name="connsiteX0" fmla="*/ 0 w 1583635"/>
              <a:gd name="connsiteY0" fmla="*/ 523168 h 1046335"/>
              <a:gd name="connsiteX1" fmla="*/ 791818 w 1583635"/>
              <a:gd name="connsiteY1" fmla="*/ 0 h 1046335"/>
              <a:gd name="connsiteX2" fmla="*/ 1583636 w 1583635"/>
              <a:gd name="connsiteY2" fmla="*/ 523168 h 1046335"/>
              <a:gd name="connsiteX3" fmla="*/ 791818 w 1583635"/>
              <a:gd name="connsiteY3" fmla="*/ 1046336 h 1046335"/>
              <a:gd name="connsiteX4" fmla="*/ 0 w 1583635"/>
              <a:gd name="connsiteY4" fmla="*/ 523168 h 1046335"/>
              <a:gd name="connsiteX0" fmla="*/ 3697 w 1587333"/>
              <a:gd name="connsiteY0" fmla="*/ 523168 h 1046336"/>
              <a:gd name="connsiteX1" fmla="*/ 596733 w 1587333"/>
              <a:gd name="connsiteY1" fmla="*/ 0 h 1046336"/>
              <a:gd name="connsiteX2" fmla="*/ 1587333 w 1587333"/>
              <a:gd name="connsiteY2" fmla="*/ 523168 h 1046336"/>
              <a:gd name="connsiteX3" fmla="*/ 795515 w 1587333"/>
              <a:gd name="connsiteY3" fmla="*/ 1046336 h 1046336"/>
              <a:gd name="connsiteX4" fmla="*/ 3697 w 1587333"/>
              <a:gd name="connsiteY4" fmla="*/ 523168 h 1046336"/>
              <a:gd name="connsiteX0" fmla="*/ 3697 w 1587333"/>
              <a:gd name="connsiteY0" fmla="*/ 546949 h 1070117"/>
              <a:gd name="connsiteX1" fmla="*/ 596733 w 1587333"/>
              <a:gd name="connsiteY1" fmla="*/ 23781 h 1070117"/>
              <a:gd name="connsiteX2" fmla="*/ 1587333 w 1587333"/>
              <a:gd name="connsiteY2" fmla="*/ 546949 h 1070117"/>
              <a:gd name="connsiteX3" fmla="*/ 795515 w 1587333"/>
              <a:gd name="connsiteY3" fmla="*/ 1070117 h 1070117"/>
              <a:gd name="connsiteX4" fmla="*/ 3697 w 1587333"/>
              <a:gd name="connsiteY4" fmla="*/ 546949 h 1070117"/>
              <a:gd name="connsiteX0" fmla="*/ 2120 w 1585756"/>
              <a:gd name="connsiteY0" fmla="*/ 623336 h 1047851"/>
              <a:gd name="connsiteX1" fmla="*/ 595156 w 1585756"/>
              <a:gd name="connsiteY1" fmla="*/ 777 h 1047851"/>
              <a:gd name="connsiteX2" fmla="*/ 1585756 w 1585756"/>
              <a:gd name="connsiteY2" fmla="*/ 523945 h 1047851"/>
              <a:gd name="connsiteX3" fmla="*/ 793938 w 1585756"/>
              <a:gd name="connsiteY3" fmla="*/ 1047113 h 1047851"/>
              <a:gd name="connsiteX4" fmla="*/ 2120 w 1585756"/>
              <a:gd name="connsiteY4" fmla="*/ 623336 h 1047851"/>
              <a:gd name="connsiteX0" fmla="*/ 3427 w 1587063"/>
              <a:gd name="connsiteY0" fmla="*/ 623336 h 1008193"/>
              <a:gd name="connsiteX1" fmla="*/ 596463 w 1587063"/>
              <a:gd name="connsiteY1" fmla="*/ 777 h 1008193"/>
              <a:gd name="connsiteX2" fmla="*/ 1587063 w 1587063"/>
              <a:gd name="connsiteY2" fmla="*/ 523945 h 1008193"/>
              <a:gd name="connsiteX3" fmla="*/ 854879 w 1587063"/>
              <a:gd name="connsiteY3" fmla="*/ 1007356 h 1008193"/>
              <a:gd name="connsiteX4" fmla="*/ 3427 w 1587063"/>
              <a:gd name="connsiteY4" fmla="*/ 623336 h 1008193"/>
              <a:gd name="connsiteX0" fmla="*/ 3427 w 1587063"/>
              <a:gd name="connsiteY0" fmla="*/ 625707 h 1012202"/>
              <a:gd name="connsiteX1" fmla="*/ 596463 w 1587063"/>
              <a:gd name="connsiteY1" fmla="*/ 3148 h 1012202"/>
              <a:gd name="connsiteX2" fmla="*/ 1587063 w 1587063"/>
              <a:gd name="connsiteY2" fmla="*/ 446803 h 1012202"/>
              <a:gd name="connsiteX3" fmla="*/ 854879 w 1587063"/>
              <a:gd name="connsiteY3" fmla="*/ 1009727 h 1012202"/>
              <a:gd name="connsiteX4" fmla="*/ 3427 w 1587063"/>
              <a:gd name="connsiteY4" fmla="*/ 625707 h 1012202"/>
              <a:gd name="connsiteX0" fmla="*/ 1744 w 1585380"/>
              <a:gd name="connsiteY0" fmla="*/ 625707 h 1111014"/>
              <a:gd name="connsiteX1" fmla="*/ 594780 w 1585380"/>
              <a:gd name="connsiteY1" fmla="*/ 3148 h 1111014"/>
              <a:gd name="connsiteX2" fmla="*/ 1585380 w 1585380"/>
              <a:gd name="connsiteY2" fmla="*/ 446803 h 1111014"/>
              <a:gd name="connsiteX3" fmla="*/ 773683 w 1585380"/>
              <a:gd name="connsiteY3" fmla="*/ 1109118 h 1111014"/>
              <a:gd name="connsiteX4" fmla="*/ 1744 w 1585380"/>
              <a:gd name="connsiteY4" fmla="*/ 625707 h 11110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85380" h="1111014">
                <a:moveTo>
                  <a:pt x="1744" y="625707"/>
                </a:moveTo>
                <a:cubicBezTo>
                  <a:pt x="-28073" y="441379"/>
                  <a:pt x="330841" y="32965"/>
                  <a:pt x="594780" y="3148"/>
                </a:cubicBezTo>
                <a:cubicBezTo>
                  <a:pt x="858719" y="-26669"/>
                  <a:pt x="1585380" y="157865"/>
                  <a:pt x="1585380" y="446803"/>
                </a:cubicBezTo>
                <a:cubicBezTo>
                  <a:pt x="1585380" y="735741"/>
                  <a:pt x="1037622" y="1079301"/>
                  <a:pt x="773683" y="1109118"/>
                </a:cubicBezTo>
                <a:cubicBezTo>
                  <a:pt x="509744" y="1138935"/>
                  <a:pt x="31561" y="810035"/>
                  <a:pt x="1744" y="625707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  <a:alpha val="60000"/>
            </a:schemeClr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ctr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FillTx/>
                <a:latin typeface="Calibri"/>
                <a:ea typeface="Calibri"/>
                <a:cs typeface="Calibri"/>
                <a:sym typeface="Calibri"/>
              </a:rPr>
              <a:t>20%</a:t>
            </a:r>
          </a:p>
        </p:txBody>
      </p:sp>
      <p:sp>
        <p:nvSpPr>
          <p:cNvPr id="14" name="Elipse 4">
            <a:extLst>
              <a:ext uri="{FF2B5EF4-FFF2-40B4-BE49-F238E27FC236}">
                <a16:creationId xmlns:a16="http://schemas.microsoft.com/office/drawing/2014/main" xmlns="" id="{B4F8BC70-BD3B-4648-BE18-D5BBC741EE85}"/>
              </a:ext>
            </a:extLst>
          </p:cNvPr>
          <p:cNvSpPr/>
          <p:nvPr/>
        </p:nvSpPr>
        <p:spPr>
          <a:xfrm>
            <a:off x="7914597" y="7955554"/>
            <a:ext cx="1165211" cy="1111014"/>
          </a:xfrm>
          <a:custGeom>
            <a:avLst/>
            <a:gdLst>
              <a:gd name="connsiteX0" fmla="*/ 0 w 1583635"/>
              <a:gd name="connsiteY0" fmla="*/ 523168 h 1046335"/>
              <a:gd name="connsiteX1" fmla="*/ 791818 w 1583635"/>
              <a:gd name="connsiteY1" fmla="*/ 0 h 1046335"/>
              <a:gd name="connsiteX2" fmla="*/ 1583636 w 1583635"/>
              <a:gd name="connsiteY2" fmla="*/ 523168 h 1046335"/>
              <a:gd name="connsiteX3" fmla="*/ 791818 w 1583635"/>
              <a:gd name="connsiteY3" fmla="*/ 1046336 h 1046335"/>
              <a:gd name="connsiteX4" fmla="*/ 0 w 1583635"/>
              <a:gd name="connsiteY4" fmla="*/ 523168 h 1046335"/>
              <a:gd name="connsiteX0" fmla="*/ 3697 w 1587333"/>
              <a:gd name="connsiteY0" fmla="*/ 523168 h 1046336"/>
              <a:gd name="connsiteX1" fmla="*/ 596733 w 1587333"/>
              <a:gd name="connsiteY1" fmla="*/ 0 h 1046336"/>
              <a:gd name="connsiteX2" fmla="*/ 1587333 w 1587333"/>
              <a:gd name="connsiteY2" fmla="*/ 523168 h 1046336"/>
              <a:gd name="connsiteX3" fmla="*/ 795515 w 1587333"/>
              <a:gd name="connsiteY3" fmla="*/ 1046336 h 1046336"/>
              <a:gd name="connsiteX4" fmla="*/ 3697 w 1587333"/>
              <a:gd name="connsiteY4" fmla="*/ 523168 h 1046336"/>
              <a:gd name="connsiteX0" fmla="*/ 3697 w 1587333"/>
              <a:gd name="connsiteY0" fmla="*/ 546949 h 1070117"/>
              <a:gd name="connsiteX1" fmla="*/ 596733 w 1587333"/>
              <a:gd name="connsiteY1" fmla="*/ 23781 h 1070117"/>
              <a:gd name="connsiteX2" fmla="*/ 1587333 w 1587333"/>
              <a:gd name="connsiteY2" fmla="*/ 546949 h 1070117"/>
              <a:gd name="connsiteX3" fmla="*/ 795515 w 1587333"/>
              <a:gd name="connsiteY3" fmla="*/ 1070117 h 1070117"/>
              <a:gd name="connsiteX4" fmla="*/ 3697 w 1587333"/>
              <a:gd name="connsiteY4" fmla="*/ 546949 h 1070117"/>
              <a:gd name="connsiteX0" fmla="*/ 2120 w 1585756"/>
              <a:gd name="connsiteY0" fmla="*/ 623336 h 1047851"/>
              <a:gd name="connsiteX1" fmla="*/ 595156 w 1585756"/>
              <a:gd name="connsiteY1" fmla="*/ 777 h 1047851"/>
              <a:gd name="connsiteX2" fmla="*/ 1585756 w 1585756"/>
              <a:gd name="connsiteY2" fmla="*/ 523945 h 1047851"/>
              <a:gd name="connsiteX3" fmla="*/ 793938 w 1585756"/>
              <a:gd name="connsiteY3" fmla="*/ 1047113 h 1047851"/>
              <a:gd name="connsiteX4" fmla="*/ 2120 w 1585756"/>
              <a:gd name="connsiteY4" fmla="*/ 623336 h 1047851"/>
              <a:gd name="connsiteX0" fmla="*/ 3427 w 1587063"/>
              <a:gd name="connsiteY0" fmla="*/ 623336 h 1008193"/>
              <a:gd name="connsiteX1" fmla="*/ 596463 w 1587063"/>
              <a:gd name="connsiteY1" fmla="*/ 777 h 1008193"/>
              <a:gd name="connsiteX2" fmla="*/ 1587063 w 1587063"/>
              <a:gd name="connsiteY2" fmla="*/ 523945 h 1008193"/>
              <a:gd name="connsiteX3" fmla="*/ 854879 w 1587063"/>
              <a:gd name="connsiteY3" fmla="*/ 1007356 h 1008193"/>
              <a:gd name="connsiteX4" fmla="*/ 3427 w 1587063"/>
              <a:gd name="connsiteY4" fmla="*/ 623336 h 1008193"/>
              <a:gd name="connsiteX0" fmla="*/ 3427 w 1587063"/>
              <a:gd name="connsiteY0" fmla="*/ 625707 h 1012202"/>
              <a:gd name="connsiteX1" fmla="*/ 596463 w 1587063"/>
              <a:gd name="connsiteY1" fmla="*/ 3148 h 1012202"/>
              <a:gd name="connsiteX2" fmla="*/ 1587063 w 1587063"/>
              <a:gd name="connsiteY2" fmla="*/ 446803 h 1012202"/>
              <a:gd name="connsiteX3" fmla="*/ 854879 w 1587063"/>
              <a:gd name="connsiteY3" fmla="*/ 1009727 h 1012202"/>
              <a:gd name="connsiteX4" fmla="*/ 3427 w 1587063"/>
              <a:gd name="connsiteY4" fmla="*/ 625707 h 1012202"/>
              <a:gd name="connsiteX0" fmla="*/ 1744 w 1585380"/>
              <a:gd name="connsiteY0" fmla="*/ 625707 h 1111014"/>
              <a:gd name="connsiteX1" fmla="*/ 594780 w 1585380"/>
              <a:gd name="connsiteY1" fmla="*/ 3148 h 1111014"/>
              <a:gd name="connsiteX2" fmla="*/ 1585380 w 1585380"/>
              <a:gd name="connsiteY2" fmla="*/ 446803 h 1111014"/>
              <a:gd name="connsiteX3" fmla="*/ 773683 w 1585380"/>
              <a:gd name="connsiteY3" fmla="*/ 1109118 h 1111014"/>
              <a:gd name="connsiteX4" fmla="*/ 1744 w 1585380"/>
              <a:gd name="connsiteY4" fmla="*/ 625707 h 11110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85380" h="1111014">
                <a:moveTo>
                  <a:pt x="1744" y="625707"/>
                </a:moveTo>
                <a:cubicBezTo>
                  <a:pt x="-28073" y="441379"/>
                  <a:pt x="330841" y="32965"/>
                  <a:pt x="594780" y="3148"/>
                </a:cubicBezTo>
                <a:cubicBezTo>
                  <a:pt x="858719" y="-26669"/>
                  <a:pt x="1585380" y="157865"/>
                  <a:pt x="1585380" y="446803"/>
                </a:cubicBezTo>
                <a:cubicBezTo>
                  <a:pt x="1585380" y="735741"/>
                  <a:pt x="1037622" y="1079301"/>
                  <a:pt x="773683" y="1109118"/>
                </a:cubicBezTo>
                <a:cubicBezTo>
                  <a:pt x="509744" y="1138935"/>
                  <a:pt x="31561" y="810035"/>
                  <a:pt x="1744" y="625707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  <a:alpha val="60000"/>
            </a:schemeClr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ctr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</a:t>
            </a:r>
            <a:r>
              <a:rPr kumimoji="0" lang="pt-BR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FillTx/>
                <a:latin typeface="Calibri"/>
                <a:ea typeface="Calibri"/>
                <a:cs typeface="Calibri"/>
                <a:sym typeface="Calibri"/>
              </a:rPr>
              <a:t>%</a:t>
            </a:r>
          </a:p>
        </p:txBody>
      </p:sp>
      <p:sp>
        <p:nvSpPr>
          <p:cNvPr id="15" name="Elipse 4">
            <a:extLst>
              <a:ext uri="{FF2B5EF4-FFF2-40B4-BE49-F238E27FC236}">
                <a16:creationId xmlns:a16="http://schemas.microsoft.com/office/drawing/2014/main" xmlns="" id="{5CB71BE9-A6B5-491B-9356-C55A3310D203}"/>
              </a:ext>
            </a:extLst>
          </p:cNvPr>
          <p:cNvSpPr/>
          <p:nvPr/>
        </p:nvSpPr>
        <p:spPr>
          <a:xfrm>
            <a:off x="7914597" y="9192614"/>
            <a:ext cx="1165211" cy="1111014"/>
          </a:xfrm>
          <a:custGeom>
            <a:avLst/>
            <a:gdLst>
              <a:gd name="connsiteX0" fmla="*/ 0 w 1583635"/>
              <a:gd name="connsiteY0" fmla="*/ 523168 h 1046335"/>
              <a:gd name="connsiteX1" fmla="*/ 791818 w 1583635"/>
              <a:gd name="connsiteY1" fmla="*/ 0 h 1046335"/>
              <a:gd name="connsiteX2" fmla="*/ 1583636 w 1583635"/>
              <a:gd name="connsiteY2" fmla="*/ 523168 h 1046335"/>
              <a:gd name="connsiteX3" fmla="*/ 791818 w 1583635"/>
              <a:gd name="connsiteY3" fmla="*/ 1046336 h 1046335"/>
              <a:gd name="connsiteX4" fmla="*/ 0 w 1583635"/>
              <a:gd name="connsiteY4" fmla="*/ 523168 h 1046335"/>
              <a:gd name="connsiteX0" fmla="*/ 3697 w 1587333"/>
              <a:gd name="connsiteY0" fmla="*/ 523168 h 1046336"/>
              <a:gd name="connsiteX1" fmla="*/ 596733 w 1587333"/>
              <a:gd name="connsiteY1" fmla="*/ 0 h 1046336"/>
              <a:gd name="connsiteX2" fmla="*/ 1587333 w 1587333"/>
              <a:gd name="connsiteY2" fmla="*/ 523168 h 1046336"/>
              <a:gd name="connsiteX3" fmla="*/ 795515 w 1587333"/>
              <a:gd name="connsiteY3" fmla="*/ 1046336 h 1046336"/>
              <a:gd name="connsiteX4" fmla="*/ 3697 w 1587333"/>
              <a:gd name="connsiteY4" fmla="*/ 523168 h 1046336"/>
              <a:gd name="connsiteX0" fmla="*/ 3697 w 1587333"/>
              <a:gd name="connsiteY0" fmla="*/ 546949 h 1070117"/>
              <a:gd name="connsiteX1" fmla="*/ 596733 w 1587333"/>
              <a:gd name="connsiteY1" fmla="*/ 23781 h 1070117"/>
              <a:gd name="connsiteX2" fmla="*/ 1587333 w 1587333"/>
              <a:gd name="connsiteY2" fmla="*/ 546949 h 1070117"/>
              <a:gd name="connsiteX3" fmla="*/ 795515 w 1587333"/>
              <a:gd name="connsiteY3" fmla="*/ 1070117 h 1070117"/>
              <a:gd name="connsiteX4" fmla="*/ 3697 w 1587333"/>
              <a:gd name="connsiteY4" fmla="*/ 546949 h 1070117"/>
              <a:gd name="connsiteX0" fmla="*/ 2120 w 1585756"/>
              <a:gd name="connsiteY0" fmla="*/ 623336 h 1047851"/>
              <a:gd name="connsiteX1" fmla="*/ 595156 w 1585756"/>
              <a:gd name="connsiteY1" fmla="*/ 777 h 1047851"/>
              <a:gd name="connsiteX2" fmla="*/ 1585756 w 1585756"/>
              <a:gd name="connsiteY2" fmla="*/ 523945 h 1047851"/>
              <a:gd name="connsiteX3" fmla="*/ 793938 w 1585756"/>
              <a:gd name="connsiteY3" fmla="*/ 1047113 h 1047851"/>
              <a:gd name="connsiteX4" fmla="*/ 2120 w 1585756"/>
              <a:gd name="connsiteY4" fmla="*/ 623336 h 1047851"/>
              <a:gd name="connsiteX0" fmla="*/ 3427 w 1587063"/>
              <a:gd name="connsiteY0" fmla="*/ 623336 h 1008193"/>
              <a:gd name="connsiteX1" fmla="*/ 596463 w 1587063"/>
              <a:gd name="connsiteY1" fmla="*/ 777 h 1008193"/>
              <a:gd name="connsiteX2" fmla="*/ 1587063 w 1587063"/>
              <a:gd name="connsiteY2" fmla="*/ 523945 h 1008193"/>
              <a:gd name="connsiteX3" fmla="*/ 854879 w 1587063"/>
              <a:gd name="connsiteY3" fmla="*/ 1007356 h 1008193"/>
              <a:gd name="connsiteX4" fmla="*/ 3427 w 1587063"/>
              <a:gd name="connsiteY4" fmla="*/ 623336 h 1008193"/>
              <a:gd name="connsiteX0" fmla="*/ 3427 w 1587063"/>
              <a:gd name="connsiteY0" fmla="*/ 625707 h 1012202"/>
              <a:gd name="connsiteX1" fmla="*/ 596463 w 1587063"/>
              <a:gd name="connsiteY1" fmla="*/ 3148 h 1012202"/>
              <a:gd name="connsiteX2" fmla="*/ 1587063 w 1587063"/>
              <a:gd name="connsiteY2" fmla="*/ 446803 h 1012202"/>
              <a:gd name="connsiteX3" fmla="*/ 854879 w 1587063"/>
              <a:gd name="connsiteY3" fmla="*/ 1009727 h 1012202"/>
              <a:gd name="connsiteX4" fmla="*/ 3427 w 1587063"/>
              <a:gd name="connsiteY4" fmla="*/ 625707 h 1012202"/>
              <a:gd name="connsiteX0" fmla="*/ 1744 w 1585380"/>
              <a:gd name="connsiteY0" fmla="*/ 625707 h 1111014"/>
              <a:gd name="connsiteX1" fmla="*/ 594780 w 1585380"/>
              <a:gd name="connsiteY1" fmla="*/ 3148 h 1111014"/>
              <a:gd name="connsiteX2" fmla="*/ 1585380 w 1585380"/>
              <a:gd name="connsiteY2" fmla="*/ 446803 h 1111014"/>
              <a:gd name="connsiteX3" fmla="*/ 773683 w 1585380"/>
              <a:gd name="connsiteY3" fmla="*/ 1109118 h 1111014"/>
              <a:gd name="connsiteX4" fmla="*/ 1744 w 1585380"/>
              <a:gd name="connsiteY4" fmla="*/ 625707 h 11110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85380" h="1111014">
                <a:moveTo>
                  <a:pt x="1744" y="625707"/>
                </a:moveTo>
                <a:cubicBezTo>
                  <a:pt x="-28073" y="441379"/>
                  <a:pt x="330841" y="32965"/>
                  <a:pt x="594780" y="3148"/>
                </a:cubicBezTo>
                <a:cubicBezTo>
                  <a:pt x="858719" y="-26669"/>
                  <a:pt x="1585380" y="157865"/>
                  <a:pt x="1585380" y="446803"/>
                </a:cubicBezTo>
                <a:cubicBezTo>
                  <a:pt x="1585380" y="735741"/>
                  <a:pt x="1037622" y="1079301"/>
                  <a:pt x="773683" y="1109118"/>
                </a:cubicBezTo>
                <a:cubicBezTo>
                  <a:pt x="509744" y="1138935"/>
                  <a:pt x="31561" y="810035"/>
                  <a:pt x="1744" y="625707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  <a:alpha val="60000"/>
            </a:schemeClr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ctr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</a:t>
            </a:r>
            <a:r>
              <a:rPr kumimoji="0" lang="pt-BR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FillTx/>
                <a:latin typeface="Calibri"/>
                <a:ea typeface="Calibri"/>
                <a:cs typeface="Calibri"/>
                <a:sym typeface="Calibri"/>
              </a:rPr>
              <a:t>%</a:t>
            </a:r>
          </a:p>
        </p:txBody>
      </p:sp>
      <p:sp>
        <p:nvSpPr>
          <p:cNvPr id="16" name="Retângulo 15">
            <a:extLst>
              <a:ext uri="{FF2B5EF4-FFF2-40B4-BE49-F238E27FC236}">
                <a16:creationId xmlns:a16="http://schemas.microsoft.com/office/drawing/2014/main" xmlns="" id="{A7EFBE8B-E6E4-4E0F-B126-C4F82EDA3404}"/>
              </a:ext>
            </a:extLst>
          </p:cNvPr>
          <p:cNvSpPr/>
          <p:nvPr/>
        </p:nvSpPr>
        <p:spPr>
          <a:xfrm>
            <a:off x="9401503" y="1265634"/>
            <a:ext cx="13787339" cy="12022169"/>
          </a:xfrm>
          <a:prstGeom prst="rect">
            <a:avLst/>
          </a:prstGeom>
          <a:solidFill>
            <a:srgbClr val="FFFFFF">
              <a:alpha val="50000"/>
            </a:srgbClr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514350" marR="0" indent="-51435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44F15"/>
              </a:buClr>
              <a:buSzTx/>
              <a:buFont typeface="+mj-lt"/>
              <a:buAutoNum type="arabicPeriod"/>
              <a:tabLst/>
            </a:pPr>
            <a:r>
              <a:rPr kumimoji="0" lang="pt-BR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Calibri"/>
              </a:rPr>
              <a:t>Atuar para aprimorar as normas sobre</a:t>
            </a:r>
            <a:r>
              <a:rPr kumimoji="0" lang="pt-BR" b="1" i="0" u="none" strike="noStrike" cap="none" spc="0" normalizeH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Calibri"/>
              </a:rPr>
              <a:t> a governança de preços (</a:t>
            </a:r>
            <a:r>
              <a:rPr kumimoji="0" lang="pt-BR" b="1" i="0" u="none" strike="noStrike" cap="none" spc="0" normalizeH="0" err="1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Calibri"/>
              </a:rPr>
              <a:t>ex</a:t>
            </a:r>
            <a:r>
              <a:rPr kumimoji="0" lang="pt-BR" b="1" i="0" u="none" strike="noStrike" cap="none" spc="0" normalizeH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Calibri"/>
              </a:rPr>
              <a:t>: Resolução ANEEL 843)</a:t>
            </a:r>
            <a:r>
              <a:rPr kumimoji="0" lang="pt-BR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Calibri"/>
              </a:rPr>
              <a:t>.</a:t>
            </a:r>
          </a:p>
          <a:p>
            <a:pPr marL="514350" marR="0" indent="-51435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44F15"/>
              </a:buClr>
              <a:buSzTx/>
              <a:buFont typeface="+mj-lt"/>
              <a:buAutoNum type="arabicPeriod"/>
              <a:tabLst/>
            </a:pPr>
            <a:endParaRPr lang="pt-BR" b="1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514350" marR="0" indent="-51435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44F15"/>
              </a:buClr>
              <a:buSzTx/>
              <a:buFont typeface="+mj-lt"/>
              <a:buAutoNum type="arabicPeriod"/>
              <a:tabLst/>
            </a:pPr>
            <a:r>
              <a:rPr lang="pt-BR" b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Apresentar propostas técnicas </a:t>
            </a:r>
            <a:r>
              <a:rPr kumimoji="0" lang="pt-BR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Calibri"/>
              </a:rPr>
              <a:t>para o maior </a:t>
            </a:r>
            <a:r>
              <a:rPr lang="pt-BR" b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acoplamento entre o preço e a operação com respeito à previsibilidade na formação de preços.</a:t>
            </a:r>
          </a:p>
          <a:p>
            <a:pPr marL="514350" marR="0" indent="-51435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44F15"/>
              </a:buClr>
              <a:buSzTx/>
              <a:buFont typeface="+mj-lt"/>
              <a:buAutoNum type="arabicPeriod"/>
              <a:tabLst/>
            </a:pPr>
            <a:endParaRPr kumimoji="0" lang="pt-BR" b="1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Calibri"/>
            </a:endParaRPr>
          </a:p>
          <a:p>
            <a:pPr marL="514350" marR="0" indent="-51435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44F15"/>
              </a:buClr>
              <a:buSzTx/>
              <a:buFont typeface="+mj-lt"/>
              <a:buAutoNum type="arabicPeriod"/>
              <a:tabLst/>
            </a:pPr>
            <a:r>
              <a:rPr lang="pt-BR" b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Adotar ações de comunicação em defesa dos modelos.</a:t>
            </a:r>
          </a:p>
          <a:p>
            <a:pPr marL="514350" marR="0" indent="-51435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44F15"/>
              </a:buClr>
              <a:buSzTx/>
              <a:buFont typeface="+mj-lt"/>
              <a:buAutoNum type="arabicPeriod"/>
              <a:tabLst/>
            </a:pPr>
            <a:endParaRPr lang="pt-BR" b="1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514350" marR="0" indent="-51435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44F15"/>
              </a:buClr>
              <a:buSzTx/>
              <a:buFont typeface="+mj-lt"/>
              <a:buAutoNum type="arabicPeriod"/>
              <a:tabLst/>
            </a:pPr>
            <a:r>
              <a:rPr lang="pt-BR" b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Identificar barreiras e dificuldades para a implantação do preço por oferta no Brasil.</a:t>
            </a:r>
            <a:endParaRPr kumimoji="0" lang="pt-BR" b="1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765258030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7" grpId="0" animBg="1"/>
      <p:bldP spid="19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Imagem 45" descr="Uma imagem contendo fogos de artifício, pipa&#10;&#10;Descrição gerada automaticamente">
            <a:extLst>
              <a:ext uri="{FF2B5EF4-FFF2-40B4-BE49-F238E27FC236}">
                <a16:creationId xmlns:a16="http://schemas.microsoft.com/office/drawing/2014/main" xmlns="" id="{EBC4024F-E120-42FF-91A4-4AF651E3803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3730324" flipH="1" flipV="1">
            <a:off x="13984446" y="4360792"/>
            <a:ext cx="5431019" cy="5431019"/>
          </a:xfrm>
          <a:prstGeom prst="rect">
            <a:avLst/>
          </a:prstGeom>
        </p:spPr>
      </p:pic>
      <p:pic>
        <p:nvPicPr>
          <p:cNvPr id="56" name="Imagem 55" descr="Uma imagem contendo fogos de artifício, pipa&#10;&#10;Descrição gerada automaticamente">
            <a:extLst>
              <a:ext uri="{FF2B5EF4-FFF2-40B4-BE49-F238E27FC236}">
                <a16:creationId xmlns:a16="http://schemas.microsoft.com/office/drawing/2014/main" xmlns="" id="{591957B1-2764-4AF7-B619-6675E431B35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169313" flipH="1" flipV="1">
            <a:off x="5538241" y="1570961"/>
            <a:ext cx="5431019" cy="5431019"/>
          </a:xfrm>
          <a:prstGeom prst="rect">
            <a:avLst/>
          </a:prstGeom>
        </p:spPr>
      </p:pic>
      <p:pic>
        <p:nvPicPr>
          <p:cNvPr id="57" name="Imagem 56" descr="Uma imagem contendo fogos de artifício, pipa&#10;&#10;Descrição gerada automaticamente">
            <a:extLst>
              <a:ext uri="{FF2B5EF4-FFF2-40B4-BE49-F238E27FC236}">
                <a16:creationId xmlns:a16="http://schemas.microsoft.com/office/drawing/2014/main" xmlns="" id="{CBEAD0F1-D7C3-44A6-8311-6DA15021B9C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1172711" flipH="1" flipV="1">
            <a:off x="6510599" y="7502779"/>
            <a:ext cx="5431019" cy="5431019"/>
          </a:xfrm>
          <a:prstGeom prst="rect">
            <a:avLst/>
          </a:prstGeom>
        </p:spPr>
      </p:pic>
      <p:sp>
        <p:nvSpPr>
          <p:cNvPr id="30" name="Elipse 3">
            <a:extLst>
              <a:ext uri="{FF2B5EF4-FFF2-40B4-BE49-F238E27FC236}">
                <a16:creationId xmlns:a16="http://schemas.microsoft.com/office/drawing/2014/main" xmlns="" id="{7AADFE70-9414-464C-9FD9-C59B4FE812BA}"/>
              </a:ext>
            </a:extLst>
          </p:cNvPr>
          <p:cNvSpPr/>
          <p:nvPr/>
        </p:nvSpPr>
        <p:spPr>
          <a:xfrm rot="19583597">
            <a:off x="14184834" y="2277733"/>
            <a:ext cx="2614938" cy="2159995"/>
          </a:xfrm>
          <a:custGeom>
            <a:avLst/>
            <a:gdLst>
              <a:gd name="connsiteX0" fmla="*/ 0 w 3233132"/>
              <a:gd name="connsiteY0" fmla="*/ 1591757 h 3183514"/>
              <a:gd name="connsiteX1" fmla="*/ 1616566 w 3233132"/>
              <a:gd name="connsiteY1" fmla="*/ 0 h 3183514"/>
              <a:gd name="connsiteX2" fmla="*/ 3233132 w 3233132"/>
              <a:gd name="connsiteY2" fmla="*/ 1591757 h 3183514"/>
              <a:gd name="connsiteX3" fmla="*/ 1616566 w 3233132"/>
              <a:gd name="connsiteY3" fmla="*/ 3183514 h 3183514"/>
              <a:gd name="connsiteX4" fmla="*/ 0 w 3233132"/>
              <a:gd name="connsiteY4" fmla="*/ 1591757 h 3183514"/>
              <a:gd name="connsiteX0" fmla="*/ 4861 w 3237993"/>
              <a:gd name="connsiteY0" fmla="*/ 1485431 h 3077188"/>
              <a:gd name="connsiteX1" fmla="*/ 1281185 w 3237993"/>
              <a:gd name="connsiteY1" fmla="*/ 0 h 3077188"/>
              <a:gd name="connsiteX2" fmla="*/ 3237993 w 3237993"/>
              <a:gd name="connsiteY2" fmla="*/ 1485431 h 3077188"/>
              <a:gd name="connsiteX3" fmla="*/ 1621427 w 3237993"/>
              <a:gd name="connsiteY3" fmla="*/ 3077188 h 3077188"/>
              <a:gd name="connsiteX4" fmla="*/ 4861 w 3237993"/>
              <a:gd name="connsiteY4" fmla="*/ 1485431 h 3077188"/>
              <a:gd name="connsiteX0" fmla="*/ 4861 w 3237993"/>
              <a:gd name="connsiteY0" fmla="*/ 1485431 h 2885802"/>
              <a:gd name="connsiteX1" fmla="*/ 1281185 w 3237993"/>
              <a:gd name="connsiteY1" fmla="*/ 0 h 2885802"/>
              <a:gd name="connsiteX2" fmla="*/ 3237993 w 3237993"/>
              <a:gd name="connsiteY2" fmla="*/ 1485431 h 2885802"/>
              <a:gd name="connsiteX3" fmla="*/ 1621427 w 3237993"/>
              <a:gd name="connsiteY3" fmla="*/ 2885802 h 2885802"/>
              <a:gd name="connsiteX4" fmla="*/ 4861 w 3237993"/>
              <a:gd name="connsiteY4" fmla="*/ 1485431 h 2885802"/>
              <a:gd name="connsiteX0" fmla="*/ 2785 w 3065796"/>
              <a:gd name="connsiteY0" fmla="*/ 1485446 h 2885827"/>
              <a:gd name="connsiteX1" fmla="*/ 1279109 w 3065796"/>
              <a:gd name="connsiteY1" fmla="*/ 15 h 2885827"/>
              <a:gd name="connsiteX2" fmla="*/ 3065796 w 3065796"/>
              <a:gd name="connsiteY2" fmla="*/ 1464180 h 2885827"/>
              <a:gd name="connsiteX3" fmla="*/ 1619351 w 3065796"/>
              <a:gd name="connsiteY3" fmla="*/ 2885817 h 2885827"/>
              <a:gd name="connsiteX4" fmla="*/ 2785 w 3065796"/>
              <a:gd name="connsiteY4" fmla="*/ 1485446 h 28858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65796" h="2885827">
                <a:moveTo>
                  <a:pt x="2785" y="1485446"/>
                </a:moveTo>
                <a:cubicBezTo>
                  <a:pt x="-53922" y="1004479"/>
                  <a:pt x="768607" y="3559"/>
                  <a:pt x="1279109" y="15"/>
                </a:cubicBezTo>
                <a:cubicBezTo>
                  <a:pt x="1789611" y="-3529"/>
                  <a:pt x="3065796" y="585077"/>
                  <a:pt x="3065796" y="1464180"/>
                </a:cubicBezTo>
                <a:cubicBezTo>
                  <a:pt x="3065796" y="2343283"/>
                  <a:pt x="2129853" y="2882273"/>
                  <a:pt x="1619351" y="2885817"/>
                </a:cubicBezTo>
                <a:cubicBezTo>
                  <a:pt x="1108849" y="2889361"/>
                  <a:pt x="59492" y="1966413"/>
                  <a:pt x="2785" y="1485446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  <a:alpha val="50000"/>
            </a:schemeClr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xmlns="" id="{839C584B-D91C-4C90-A07B-6E27AB80368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32" name="Slide do think-cell" r:id="rId5" imgW="425" imgH="426" progId="TCLayout.ActiveDocument.1">
                  <p:embed/>
                </p:oleObj>
              </mc:Choice>
              <mc:Fallback>
                <p:oleObj name="Slide do think-cell" r:id="rId5" imgW="425" imgH="426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xmlns="" id="{839C584B-D91C-4C90-A07B-6E27AB8036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Elipse 3">
            <a:extLst>
              <a:ext uri="{FF2B5EF4-FFF2-40B4-BE49-F238E27FC236}">
                <a16:creationId xmlns:a16="http://schemas.microsoft.com/office/drawing/2014/main" xmlns="" id="{F7A035CA-B007-4991-AC6F-20B2829D5DF7}"/>
              </a:ext>
            </a:extLst>
          </p:cNvPr>
          <p:cNvSpPr/>
          <p:nvPr/>
        </p:nvSpPr>
        <p:spPr>
          <a:xfrm>
            <a:off x="8799347" y="4906295"/>
            <a:ext cx="6763376" cy="3435533"/>
          </a:xfrm>
          <a:custGeom>
            <a:avLst/>
            <a:gdLst>
              <a:gd name="connsiteX0" fmla="*/ 0 w 3233132"/>
              <a:gd name="connsiteY0" fmla="*/ 1591757 h 3183514"/>
              <a:gd name="connsiteX1" fmla="*/ 1616566 w 3233132"/>
              <a:gd name="connsiteY1" fmla="*/ 0 h 3183514"/>
              <a:gd name="connsiteX2" fmla="*/ 3233132 w 3233132"/>
              <a:gd name="connsiteY2" fmla="*/ 1591757 h 3183514"/>
              <a:gd name="connsiteX3" fmla="*/ 1616566 w 3233132"/>
              <a:gd name="connsiteY3" fmla="*/ 3183514 h 3183514"/>
              <a:gd name="connsiteX4" fmla="*/ 0 w 3233132"/>
              <a:gd name="connsiteY4" fmla="*/ 1591757 h 3183514"/>
              <a:gd name="connsiteX0" fmla="*/ 4861 w 3237993"/>
              <a:gd name="connsiteY0" fmla="*/ 1485431 h 3077188"/>
              <a:gd name="connsiteX1" fmla="*/ 1281185 w 3237993"/>
              <a:gd name="connsiteY1" fmla="*/ 0 h 3077188"/>
              <a:gd name="connsiteX2" fmla="*/ 3237993 w 3237993"/>
              <a:gd name="connsiteY2" fmla="*/ 1485431 h 3077188"/>
              <a:gd name="connsiteX3" fmla="*/ 1621427 w 3237993"/>
              <a:gd name="connsiteY3" fmla="*/ 3077188 h 3077188"/>
              <a:gd name="connsiteX4" fmla="*/ 4861 w 3237993"/>
              <a:gd name="connsiteY4" fmla="*/ 1485431 h 3077188"/>
              <a:gd name="connsiteX0" fmla="*/ 4861 w 3237993"/>
              <a:gd name="connsiteY0" fmla="*/ 1485431 h 2885802"/>
              <a:gd name="connsiteX1" fmla="*/ 1281185 w 3237993"/>
              <a:gd name="connsiteY1" fmla="*/ 0 h 2885802"/>
              <a:gd name="connsiteX2" fmla="*/ 3237993 w 3237993"/>
              <a:gd name="connsiteY2" fmla="*/ 1485431 h 2885802"/>
              <a:gd name="connsiteX3" fmla="*/ 1621427 w 3237993"/>
              <a:gd name="connsiteY3" fmla="*/ 2885802 h 2885802"/>
              <a:gd name="connsiteX4" fmla="*/ 4861 w 3237993"/>
              <a:gd name="connsiteY4" fmla="*/ 1485431 h 2885802"/>
              <a:gd name="connsiteX0" fmla="*/ 2785 w 3065796"/>
              <a:gd name="connsiteY0" fmla="*/ 1485446 h 2885827"/>
              <a:gd name="connsiteX1" fmla="*/ 1279109 w 3065796"/>
              <a:gd name="connsiteY1" fmla="*/ 15 h 2885827"/>
              <a:gd name="connsiteX2" fmla="*/ 3065796 w 3065796"/>
              <a:gd name="connsiteY2" fmla="*/ 1464180 h 2885827"/>
              <a:gd name="connsiteX3" fmla="*/ 1619351 w 3065796"/>
              <a:gd name="connsiteY3" fmla="*/ 2885817 h 2885827"/>
              <a:gd name="connsiteX4" fmla="*/ 2785 w 3065796"/>
              <a:gd name="connsiteY4" fmla="*/ 1485446 h 2885827"/>
              <a:gd name="connsiteX0" fmla="*/ 2777 w 3051070"/>
              <a:gd name="connsiteY0" fmla="*/ 1492923 h 2895991"/>
              <a:gd name="connsiteX1" fmla="*/ 1279101 w 3051070"/>
              <a:gd name="connsiteY1" fmla="*/ 7492 h 2895991"/>
              <a:gd name="connsiteX2" fmla="*/ 3051070 w 3051070"/>
              <a:gd name="connsiteY2" fmla="*/ 1128518 h 2895991"/>
              <a:gd name="connsiteX3" fmla="*/ 1619343 w 3051070"/>
              <a:gd name="connsiteY3" fmla="*/ 2893294 h 2895991"/>
              <a:gd name="connsiteX4" fmla="*/ 2777 w 3051070"/>
              <a:gd name="connsiteY4" fmla="*/ 1492923 h 2895991"/>
              <a:gd name="connsiteX0" fmla="*/ 3007 w 3051300"/>
              <a:gd name="connsiteY0" fmla="*/ 1492923 h 2445227"/>
              <a:gd name="connsiteX1" fmla="*/ 1279331 w 3051300"/>
              <a:gd name="connsiteY1" fmla="*/ 7492 h 2445227"/>
              <a:gd name="connsiteX2" fmla="*/ 3051300 w 3051300"/>
              <a:gd name="connsiteY2" fmla="*/ 1128518 h 2445227"/>
              <a:gd name="connsiteX3" fmla="*/ 1634291 w 3051300"/>
              <a:gd name="connsiteY3" fmla="*/ 2440974 h 2445227"/>
              <a:gd name="connsiteX4" fmla="*/ 3007 w 3051300"/>
              <a:gd name="connsiteY4" fmla="*/ 1492923 h 2445227"/>
              <a:gd name="connsiteX0" fmla="*/ 3007 w 3051300"/>
              <a:gd name="connsiteY0" fmla="*/ 1492923 h 2533731"/>
              <a:gd name="connsiteX1" fmla="*/ 1279331 w 3051300"/>
              <a:gd name="connsiteY1" fmla="*/ 7492 h 2533731"/>
              <a:gd name="connsiteX2" fmla="*/ 3051300 w 3051300"/>
              <a:gd name="connsiteY2" fmla="*/ 1128518 h 2533731"/>
              <a:gd name="connsiteX3" fmla="*/ 1634291 w 3051300"/>
              <a:gd name="connsiteY3" fmla="*/ 2440974 h 2533731"/>
              <a:gd name="connsiteX4" fmla="*/ 3007 w 3051300"/>
              <a:gd name="connsiteY4" fmla="*/ 1492923 h 2533731"/>
              <a:gd name="connsiteX0" fmla="*/ 2891 w 3051184"/>
              <a:gd name="connsiteY0" fmla="*/ 1492923 h 2725334"/>
              <a:gd name="connsiteX1" fmla="*/ 1279215 w 3051184"/>
              <a:gd name="connsiteY1" fmla="*/ 7492 h 2725334"/>
              <a:gd name="connsiteX2" fmla="*/ 3051184 w 3051184"/>
              <a:gd name="connsiteY2" fmla="*/ 1128518 h 2725334"/>
              <a:gd name="connsiteX3" fmla="*/ 1626816 w 3051184"/>
              <a:gd name="connsiteY3" fmla="*/ 2643738 h 2725334"/>
              <a:gd name="connsiteX4" fmla="*/ 2891 w 3051184"/>
              <a:gd name="connsiteY4" fmla="*/ 1492923 h 2725334"/>
              <a:gd name="connsiteX0" fmla="*/ 3256 w 2933803"/>
              <a:gd name="connsiteY0" fmla="*/ 1460491 h 2645435"/>
              <a:gd name="connsiteX1" fmla="*/ 1161834 w 2933803"/>
              <a:gd name="connsiteY1" fmla="*/ 6440 h 2645435"/>
              <a:gd name="connsiteX2" fmla="*/ 2933803 w 2933803"/>
              <a:gd name="connsiteY2" fmla="*/ 1127466 h 2645435"/>
              <a:gd name="connsiteX3" fmla="*/ 1509435 w 2933803"/>
              <a:gd name="connsiteY3" fmla="*/ 2642686 h 2645435"/>
              <a:gd name="connsiteX4" fmla="*/ 3256 w 2933803"/>
              <a:gd name="connsiteY4" fmla="*/ 1460491 h 2645435"/>
              <a:gd name="connsiteX0" fmla="*/ 3099 w 2933646"/>
              <a:gd name="connsiteY0" fmla="*/ 1677766 h 2862834"/>
              <a:gd name="connsiteX1" fmla="*/ 1169036 w 2933646"/>
              <a:gd name="connsiteY1" fmla="*/ 4059 h 2862834"/>
              <a:gd name="connsiteX2" fmla="*/ 2933646 w 2933646"/>
              <a:gd name="connsiteY2" fmla="*/ 1344741 h 2862834"/>
              <a:gd name="connsiteX3" fmla="*/ 1509278 w 2933646"/>
              <a:gd name="connsiteY3" fmla="*/ 2859961 h 2862834"/>
              <a:gd name="connsiteX4" fmla="*/ 3099 w 2933646"/>
              <a:gd name="connsiteY4" fmla="*/ 1677766 h 2862834"/>
              <a:gd name="connsiteX0" fmla="*/ 3709 w 2779714"/>
              <a:gd name="connsiteY0" fmla="*/ 1742005 h 2865731"/>
              <a:gd name="connsiteX1" fmla="*/ 1015104 w 2779714"/>
              <a:gd name="connsiteY1" fmla="*/ 5540 h 2865731"/>
              <a:gd name="connsiteX2" fmla="*/ 2779714 w 2779714"/>
              <a:gd name="connsiteY2" fmla="*/ 1346222 h 2865731"/>
              <a:gd name="connsiteX3" fmla="*/ 1355346 w 2779714"/>
              <a:gd name="connsiteY3" fmla="*/ 2861442 h 2865731"/>
              <a:gd name="connsiteX4" fmla="*/ 3709 w 2779714"/>
              <a:gd name="connsiteY4" fmla="*/ 1742005 h 2865731"/>
              <a:gd name="connsiteX0" fmla="*/ 22 w 2776027"/>
              <a:gd name="connsiteY0" fmla="*/ 1742005 h 3006368"/>
              <a:gd name="connsiteX1" fmla="*/ 1011417 w 2776027"/>
              <a:gd name="connsiteY1" fmla="*/ 5540 h 3006368"/>
              <a:gd name="connsiteX2" fmla="*/ 2776027 w 2776027"/>
              <a:gd name="connsiteY2" fmla="*/ 1346222 h 3006368"/>
              <a:gd name="connsiteX3" fmla="*/ 1035217 w 2776027"/>
              <a:gd name="connsiteY3" fmla="*/ 3002650 h 3006368"/>
              <a:gd name="connsiteX4" fmla="*/ 22 w 2776027"/>
              <a:gd name="connsiteY4" fmla="*/ 1742005 h 3006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76027" h="3006368">
                <a:moveTo>
                  <a:pt x="22" y="1742005"/>
                </a:moveTo>
                <a:cubicBezTo>
                  <a:pt x="-3945" y="1242487"/>
                  <a:pt x="548750" y="71504"/>
                  <a:pt x="1011417" y="5540"/>
                </a:cubicBezTo>
                <a:cubicBezTo>
                  <a:pt x="1474085" y="-60424"/>
                  <a:pt x="2776027" y="467119"/>
                  <a:pt x="2776027" y="1346222"/>
                </a:cubicBezTo>
                <a:cubicBezTo>
                  <a:pt x="2776027" y="2225325"/>
                  <a:pt x="1497885" y="2936686"/>
                  <a:pt x="1035217" y="3002650"/>
                </a:cubicBezTo>
                <a:cubicBezTo>
                  <a:pt x="572550" y="3068614"/>
                  <a:pt x="3989" y="2241523"/>
                  <a:pt x="22" y="1742005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  <a:alpha val="50000"/>
            </a:schemeClr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" name="Título 1">
            <a:extLst>
              <a:ext uri="{FF2B5EF4-FFF2-40B4-BE49-F238E27FC236}">
                <a16:creationId xmlns:a16="http://schemas.microsoft.com/office/drawing/2014/main" xmlns="" id="{6E1E4082-CC2F-404F-9598-39BE5D3F2348}"/>
              </a:ext>
            </a:extLst>
          </p:cNvPr>
          <p:cNvSpPr txBox="1">
            <a:spLocks/>
          </p:cNvSpPr>
          <p:nvPr/>
        </p:nvSpPr>
        <p:spPr>
          <a:xfrm>
            <a:off x="550492" y="372411"/>
            <a:ext cx="24384000" cy="1316792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4800" b="1">
                <a:solidFill>
                  <a:srgbClr val="F44F1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Bandeiras ABRACEEL 2022 - 2025</a:t>
            </a:r>
          </a:p>
        </p:txBody>
      </p:sp>
      <p:pic>
        <p:nvPicPr>
          <p:cNvPr id="5" name="Picture 263" descr="ABRACEEL">
            <a:extLst>
              <a:ext uri="{FF2B5EF4-FFF2-40B4-BE49-F238E27FC236}">
                <a16:creationId xmlns:a16="http://schemas.microsoft.com/office/drawing/2014/main" xmlns="" id="{E795C2B7-FCEB-4C59-810F-191AF94E4B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75670" y="7236144"/>
            <a:ext cx="1593538" cy="5789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Imagem 6" descr="Texto&#10;&#10;Descrição gerada automaticamente">
            <a:extLst>
              <a:ext uri="{FF2B5EF4-FFF2-40B4-BE49-F238E27FC236}">
                <a16:creationId xmlns:a16="http://schemas.microsoft.com/office/drawing/2014/main" xmlns="" id="{0D0C6025-08B0-4911-B533-B1A5F2F1C2DC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71357" y="5493276"/>
            <a:ext cx="1980000" cy="1980000"/>
          </a:xfrm>
          <a:prstGeom prst="rect">
            <a:avLst/>
          </a:prstGeom>
        </p:spPr>
      </p:pic>
      <p:cxnSp>
        <p:nvCxnSpPr>
          <p:cNvPr id="8" name="Conector reto 7">
            <a:extLst>
              <a:ext uri="{FF2B5EF4-FFF2-40B4-BE49-F238E27FC236}">
                <a16:creationId xmlns:a16="http://schemas.microsoft.com/office/drawing/2014/main" xmlns="" id="{5C3A3042-2763-4BBE-AB90-188AEA6AA441}"/>
              </a:ext>
            </a:extLst>
          </p:cNvPr>
          <p:cNvCxnSpPr>
            <a:cxnSpLocks/>
          </p:cNvCxnSpPr>
          <p:nvPr/>
        </p:nvCxnSpPr>
        <p:spPr>
          <a:xfrm>
            <a:off x="11150121" y="5586652"/>
            <a:ext cx="0" cy="1975822"/>
          </a:xfrm>
          <a:prstGeom prst="line">
            <a:avLst/>
          </a:prstGeom>
          <a:noFill/>
          <a:ln w="63500" cap="flat">
            <a:solidFill>
              <a:srgbClr val="F44F15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9" name="Título 1">
            <a:extLst>
              <a:ext uri="{FF2B5EF4-FFF2-40B4-BE49-F238E27FC236}">
                <a16:creationId xmlns:a16="http://schemas.microsoft.com/office/drawing/2014/main" xmlns="" id="{21F9F136-E586-4623-91AB-0A17BF289D1B}"/>
              </a:ext>
            </a:extLst>
          </p:cNvPr>
          <p:cNvSpPr txBox="1">
            <a:spLocks/>
          </p:cNvSpPr>
          <p:nvPr/>
        </p:nvSpPr>
        <p:spPr>
          <a:xfrm>
            <a:off x="11387253" y="5712158"/>
            <a:ext cx="3565871" cy="1316792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b="1">
                <a:solidFill>
                  <a:srgbClr val="F44F1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lanejamento </a:t>
            </a:r>
          </a:p>
          <a:p>
            <a:r>
              <a:rPr lang="pt-BR" b="1">
                <a:solidFill>
                  <a:srgbClr val="F44F1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stratégico</a:t>
            </a:r>
          </a:p>
          <a:p>
            <a:r>
              <a:rPr lang="pt-BR" b="1">
                <a:solidFill>
                  <a:srgbClr val="F44F1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022 - 2025</a:t>
            </a:r>
          </a:p>
        </p:txBody>
      </p:sp>
      <p:sp>
        <p:nvSpPr>
          <p:cNvPr id="25" name="Elipse 3">
            <a:extLst>
              <a:ext uri="{FF2B5EF4-FFF2-40B4-BE49-F238E27FC236}">
                <a16:creationId xmlns:a16="http://schemas.microsoft.com/office/drawing/2014/main" xmlns="" id="{C6565A0D-EE65-4789-8C47-A02AB2DB491F}"/>
              </a:ext>
            </a:extLst>
          </p:cNvPr>
          <p:cNvSpPr/>
          <p:nvPr/>
        </p:nvSpPr>
        <p:spPr>
          <a:xfrm>
            <a:off x="5647751" y="6515699"/>
            <a:ext cx="2614938" cy="2159995"/>
          </a:xfrm>
          <a:custGeom>
            <a:avLst/>
            <a:gdLst>
              <a:gd name="connsiteX0" fmla="*/ 0 w 3233132"/>
              <a:gd name="connsiteY0" fmla="*/ 1591757 h 3183514"/>
              <a:gd name="connsiteX1" fmla="*/ 1616566 w 3233132"/>
              <a:gd name="connsiteY1" fmla="*/ 0 h 3183514"/>
              <a:gd name="connsiteX2" fmla="*/ 3233132 w 3233132"/>
              <a:gd name="connsiteY2" fmla="*/ 1591757 h 3183514"/>
              <a:gd name="connsiteX3" fmla="*/ 1616566 w 3233132"/>
              <a:gd name="connsiteY3" fmla="*/ 3183514 h 3183514"/>
              <a:gd name="connsiteX4" fmla="*/ 0 w 3233132"/>
              <a:gd name="connsiteY4" fmla="*/ 1591757 h 3183514"/>
              <a:gd name="connsiteX0" fmla="*/ 4861 w 3237993"/>
              <a:gd name="connsiteY0" fmla="*/ 1485431 h 3077188"/>
              <a:gd name="connsiteX1" fmla="*/ 1281185 w 3237993"/>
              <a:gd name="connsiteY1" fmla="*/ 0 h 3077188"/>
              <a:gd name="connsiteX2" fmla="*/ 3237993 w 3237993"/>
              <a:gd name="connsiteY2" fmla="*/ 1485431 h 3077188"/>
              <a:gd name="connsiteX3" fmla="*/ 1621427 w 3237993"/>
              <a:gd name="connsiteY3" fmla="*/ 3077188 h 3077188"/>
              <a:gd name="connsiteX4" fmla="*/ 4861 w 3237993"/>
              <a:gd name="connsiteY4" fmla="*/ 1485431 h 3077188"/>
              <a:gd name="connsiteX0" fmla="*/ 4861 w 3237993"/>
              <a:gd name="connsiteY0" fmla="*/ 1485431 h 2885802"/>
              <a:gd name="connsiteX1" fmla="*/ 1281185 w 3237993"/>
              <a:gd name="connsiteY1" fmla="*/ 0 h 2885802"/>
              <a:gd name="connsiteX2" fmla="*/ 3237993 w 3237993"/>
              <a:gd name="connsiteY2" fmla="*/ 1485431 h 2885802"/>
              <a:gd name="connsiteX3" fmla="*/ 1621427 w 3237993"/>
              <a:gd name="connsiteY3" fmla="*/ 2885802 h 2885802"/>
              <a:gd name="connsiteX4" fmla="*/ 4861 w 3237993"/>
              <a:gd name="connsiteY4" fmla="*/ 1485431 h 2885802"/>
              <a:gd name="connsiteX0" fmla="*/ 2785 w 3065796"/>
              <a:gd name="connsiteY0" fmla="*/ 1485446 h 2885827"/>
              <a:gd name="connsiteX1" fmla="*/ 1279109 w 3065796"/>
              <a:gd name="connsiteY1" fmla="*/ 15 h 2885827"/>
              <a:gd name="connsiteX2" fmla="*/ 3065796 w 3065796"/>
              <a:gd name="connsiteY2" fmla="*/ 1464180 h 2885827"/>
              <a:gd name="connsiteX3" fmla="*/ 1619351 w 3065796"/>
              <a:gd name="connsiteY3" fmla="*/ 2885817 h 2885827"/>
              <a:gd name="connsiteX4" fmla="*/ 2785 w 3065796"/>
              <a:gd name="connsiteY4" fmla="*/ 1485446 h 28858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65796" h="2885827">
                <a:moveTo>
                  <a:pt x="2785" y="1485446"/>
                </a:moveTo>
                <a:cubicBezTo>
                  <a:pt x="-53922" y="1004479"/>
                  <a:pt x="768607" y="3559"/>
                  <a:pt x="1279109" y="15"/>
                </a:cubicBezTo>
                <a:cubicBezTo>
                  <a:pt x="1789611" y="-3529"/>
                  <a:pt x="3065796" y="585077"/>
                  <a:pt x="3065796" y="1464180"/>
                </a:cubicBezTo>
                <a:cubicBezTo>
                  <a:pt x="3065796" y="2343283"/>
                  <a:pt x="2129853" y="2882273"/>
                  <a:pt x="1619351" y="2885817"/>
                </a:cubicBezTo>
                <a:cubicBezTo>
                  <a:pt x="1108849" y="2889361"/>
                  <a:pt x="59492" y="1966413"/>
                  <a:pt x="2785" y="1485446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  <a:alpha val="50000"/>
            </a:schemeClr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26" name="Conector reto 25">
            <a:extLst>
              <a:ext uri="{FF2B5EF4-FFF2-40B4-BE49-F238E27FC236}">
                <a16:creationId xmlns:a16="http://schemas.microsoft.com/office/drawing/2014/main" xmlns="" id="{7C29B510-B0F9-41B9-B8CB-91F17F7D1265}"/>
              </a:ext>
            </a:extLst>
          </p:cNvPr>
          <p:cNvCxnSpPr>
            <a:cxnSpLocks/>
          </p:cNvCxnSpPr>
          <p:nvPr/>
        </p:nvCxnSpPr>
        <p:spPr>
          <a:xfrm>
            <a:off x="5455823" y="6607785"/>
            <a:ext cx="0" cy="1975822"/>
          </a:xfrm>
          <a:prstGeom prst="line">
            <a:avLst/>
          </a:prstGeom>
          <a:noFill/>
          <a:ln w="63500" cap="flat">
            <a:solidFill>
              <a:srgbClr val="F44F15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7" name="CaixaDeTexto 26">
            <a:extLst>
              <a:ext uri="{FF2B5EF4-FFF2-40B4-BE49-F238E27FC236}">
                <a16:creationId xmlns:a16="http://schemas.microsoft.com/office/drawing/2014/main" xmlns="" id="{BBE56C7A-C28C-4914-AA62-E074E6F70AE2}"/>
              </a:ext>
            </a:extLst>
          </p:cNvPr>
          <p:cNvSpPr txBox="1"/>
          <p:nvPr/>
        </p:nvSpPr>
        <p:spPr>
          <a:xfrm>
            <a:off x="10001251" y="2224958"/>
            <a:ext cx="3467108" cy="2215989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algn="r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4400" b="1"/>
              <a:t>Abertura do Mercado para o Consumidor</a:t>
            </a:r>
          </a:p>
        </p:txBody>
      </p:sp>
      <p:pic>
        <p:nvPicPr>
          <p:cNvPr id="29" name="Imagem 28">
            <a:extLst>
              <a:ext uri="{FF2B5EF4-FFF2-40B4-BE49-F238E27FC236}">
                <a16:creationId xmlns:a16="http://schemas.microsoft.com/office/drawing/2014/main" xmlns="" id="{1DA63BC2-E198-4914-8D8B-28EB3C5CFCE7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539381" y="2205908"/>
            <a:ext cx="2160000" cy="2160000"/>
          </a:xfrm>
          <a:prstGeom prst="rect">
            <a:avLst/>
          </a:prstGeom>
        </p:spPr>
      </p:pic>
      <p:cxnSp>
        <p:nvCxnSpPr>
          <p:cNvPr id="31" name="Conector reto 30">
            <a:extLst>
              <a:ext uri="{FF2B5EF4-FFF2-40B4-BE49-F238E27FC236}">
                <a16:creationId xmlns:a16="http://schemas.microsoft.com/office/drawing/2014/main" xmlns="" id="{55BBEF52-9E65-485C-8F5D-7FA9C61C7EBE}"/>
              </a:ext>
            </a:extLst>
          </p:cNvPr>
          <p:cNvCxnSpPr>
            <a:cxnSpLocks/>
          </p:cNvCxnSpPr>
          <p:nvPr/>
        </p:nvCxnSpPr>
        <p:spPr>
          <a:xfrm>
            <a:off x="13819908" y="2390086"/>
            <a:ext cx="0" cy="1975822"/>
          </a:xfrm>
          <a:prstGeom prst="line">
            <a:avLst/>
          </a:prstGeom>
          <a:noFill/>
          <a:ln w="63500" cap="flat">
            <a:solidFill>
              <a:srgbClr val="F44F15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8" name="Elipse 3">
            <a:extLst>
              <a:ext uri="{FF2B5EF4-FFF2-40B4-BE49-F238E27FC236}">
                <a16:creationId xmlns:a16="http://schemas.microsoft.com/office/drawing/2014/main" xmlns="" id="{99F9D28A-547E-4A3A-A123-24408A5B6D13}"/>
              </a:ext>
            </a:extLst>
          </p:cNvPr>
          <p:cNvSpPr/>
          <p:nvPr/>
        </p:nvSpPr>
        <p:spPr>
          <a:xfrm rot="2122349">
            <a:off x="11091646" y="9752661"/>
            <a:ext cx="2614938" cy="2159995"/>
          </a:xfrm>
          <a:custGeom>
            <a:avLst/>
            <a:gdLst>
              <a:gd name="connsiteX0" fmla="*/ 0 w 3233132"/>
              <a:gd name="connsiteY0" fmla="*/ 1591757 h 3183514"/>
              <a:gd name="connsiteX1" fmla="*/ 1616566 w 3233132"/>
              <a:gd name="connsiteY1" fmla="*/ 0 h 3183514"/>
              <a:gd name="connsiteX2" fmla="*/ 3233132 w 3233132"/>
              <a:gd name="connsiteY2" fmla="*/ 1591757 h 3183514"/>
              <a:gd name="connsiteX3" fmla="*/ 1616566 w 3233132"/>
              <a:gd name="connsiteY3" fmla="*/ 3183514 h 3183514"/>
              <a:gd name="connsiteX4" fmla="*/ 0 w 3233132"/>
              <a:gd name="connsiteY4" fmla="*/ 1591757 h 3183514"/>
              <a:gd name="connsiteX0" fmla="*/ 4861 w 3237993"/>
              <a:gd name="connsiteY0" fmla="*/ 1485431 h 3077188"/>
              <a:gd name="connsiteX1" fmla="*/ 1281185 w 3237993"/>
              <a:gd name="connsiteY1" fmla="*/ 0 h 3077188"/>
              <a:gd name="connsiteX2" fmla="*/ 3237993 w 3237993"/>
              <a:gd name="connsiteY2" fmla="*/ 1485431 h 3077188"/>
              <a:gd name="connsiteX3" fmla="*/ 1621427 w 3237993"/>
              <a:gd name="connsiteY3" fmla="*/ 3077188 h 3077188"/>
              <a:gd name="connsiteX4" fmla="*/ 4861 w 3237993"/>
              <a:gd name="connsiteY4" fmla="*/ 1485431 h 3077188"/>
              <a:gd name="connsiteX0" fmla="*/ 4861 w 3237993"/>
              <a:gd name="connsiteY0" fmla="*/ 1485431 h 2885802"/>
              <a:gd name="connsiteX1" fmla="*/ 1281185 w 3237993"/>
              <a:gd name="connsiteY1" fmla="*/ 0 h 2885802"/>
              <a:gd name="connsiteX2" fmla="*/ 3237993 w 3237993"/>
              <a:gd name="connsiteY2" fmla="*/ 1485431 h 2885802"/>
              <a:gd name="connsiteX3" fmla="*/ 1621427 w 3237993"/>
              <a:gd name="connsiteY3" fmla="*/ 2885802 h 2885802"/>
              <a:gd name="connsiteX4" fmla="*/ 4861 w 3237993"/>
              <a:gd name="connsiteY4" fmla="*/ 1485431 h 2885802"/>
              <a:gd name="connsiteX0" fmla="*/ 2785 w 3065796"/>
              <a:gd name="connsiteY0" fmla="*/ 1485446 h 2885827"/>
              <a:gd name="connsiteX1" fmla="*/ 1279109 w 3065796"/>
              <a:gd name="connsiteY1" fmla="*/ 15 h 2885827"/>
              <a:gd name="connsiteX2" fmla="*/ 3065796 w 3065796"/>
              <a:gd name="connsiteY2" fmla="*/ 1464180 h 2885827"/>
              <a:gd name="connsiteX3" fmla="*/ 1619351 w 3065796"/>
              <a:gd name="connsiteY3" fmla="*/ 2885817 h 2885827"/>
              <a:gd name="connsiteX4" fmla="*/ 2785 w 3065796"/>
              <a:gd name="connsiteY4" fmla="*/ 1485446 h 28858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65796" h="2885827">
                <a:moveTo>
                  <a:pt x="2785" y="1485446"/>
                </a:moveTo>
                <a:cubicBezTo>
                  <a:pt x="-53922" y="1004479"/>
                  <a:pt x="768607" y="3559"/>
                  <a:pt x="1279109" y="15"/>
                </a:cubicBezTo>
                <a:cubicBezTo>
                  <a:pt x="1789611" y="-3529"/>
                  <a:pt x="3065796" y="585077"/>
                  <a:pt x="3065796" y="1464180"/>
                </a:cubicBezTo>
                <a:cubicBezTo>
                  <a:pt x="3065796" y="2343283"/>
                  <a:pt x="2129853" y="2882273"/>
                  <a:pt x="1619351" y="2885817"/>
                </a:cubicBezTo>
                <a:cubicBezTo>
                  <a:pt x="1108849" y="2889361"/>
                  <a:pt x="59492" y="1966413"/>
                  <a:pt x="2785" y="1485446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  <a:alpha val="50000"/>
            </a:schemeClr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39" name="Conector reto 38">
            <a:extLst>
              <a:ext uri="{FF2B5EF4-FFF2-40B4-BE49-F238E27FC236}">
                <a16:creationId xmlns:a16="http://schemas.microsoft.com/office/drawing/2014/main" xmlns="" id="{6A1939EB-5AF2-44C2-8B24-D1E14F8F9DF6}"/>
              </a:ext>
            </a:extLst>
          </p:cNvPr>
          <p:cNvCxnSpPr>
            <a:cxnSpLocks/>
          </p:cNvCxnSpPr>
          <p:nvPr/>
        </p:nvCxnSpPr>
        <p:spPr>
          <a:xfrm>
            <a:off x="13889634" y="9799347"/>
            <a:ext cx="0" cy="1975822"/>
          </a:xfrm>
          <a:prstGeom prst="line">
            <a:avLst/>
          </a:prstGeom>
          <a:noFill/>
          <a:ln w="63500" cap="flat">
            <a:solidFill>
              <a:srgbClr val="F44F15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3" name="CaixaDeTexto 32">
            <a:extLst>
              <a:ext uri="{FF2B5EF4-FFF2-40B4-BE49-F238E27FC236}">
                <a16:creationId xmlns:a16="http://schemas.microsoft.com/office/drawing/2014/main" xmlns="" id="{7FEF42A2-743D-4D6B-9610-7B664D1B98E2}"/>
              </a:ext>
            </a:extLst>
          </p:cNvPr>
          <p:cNvSpPr txBox="1"/>
          <p:nvPr/>
        </p:nvSpPr>
        <p:spPr>
          <a:xfrm>
            <a:off x="14090433" y="9577370"/>
            <a:ext cx="7164186" cy="2893098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4400" b="1"/>
              <a:t>Mecanismos </a:t>
            </a:r>
          </a:p>
          <a:p>
            <a:pPr marL="0" marR="0" indent="0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4400" b="1"/>
              <a:t>de Formação </a:t>
            </a:r>
          </a:p>
          <a:p>
            <a:pPr marL="0" marR="0" indent="0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4400" b="1"/>
              <a:t>de Preços</a:t>
            </a:r>
          </a:p>
          <a:p>
            <a:pPr marL="0" marR="0" indent="0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pt-BR" sz="4400" b="1"/>
          </a:p>
        </p:txBody>
      </p:sp>
      <p:pic>
        <p:nvPicPr>
          <p:cNvPr id="37" name="Imagem 36">
            <a:extLst>
              <a:ext uri="{FF2B5EF4-FFF2-40B4-BE49-F238E27FC236}">
                <a16:creationId xmlns:a16="http://schemas.microsoft.com/office/drawing/2014/main" xmlns="" id="{DF3FCF22-D6FA-4E06-9A49-440E148D0F04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27833" y="9721781"/>
            <a:ext cx="2160000" cy="2160000"/>
          </a:xfrm>
          <a:prstGeom prst="rect">
            <a:avLst/>
          </a:prstGeom>
        </p:spPr>
      </p:pic>
      <p:sp>
        <p:nvSpPr>
          <p:cNvPr id="54" name="CaixaDeTexto 53">
            <a:extLst>
              <a:ext uri="{FF2B5EF4-FFF2-40B4-BE49-F238E27FC236}">
                <a16:creationId xmlns:a16="http://schemas.microsoft.com/office/drawing/2014/main" xmlns="" id="{70307D07-08F3-47BE-B76C-2EC4BCA9F2A6}"/>
              </a:ext>
            </a:extLst>
          </p:cNvPr>
          <p:cNvSpPr txBox="1"/>
          <p:nvPr/>
        </p:nvSpPr>
        <p:spPr>
          <a:xfrm>
            <a:off x="2166730" y="6865916"/>
            <a:ext cx="3072065" cy="1538881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algn="r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4400" b="1"/>
              <a:t>Segurança </a:t>
            </a:r>
          </a:p>
          <a:p>
            <a:pPr marL="0" marR="0" indent="0" algn="r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4400" b="1"/>
              <a:t>de Mercado</a:t>
            </a:r>
          </a:p>
        </p:txBody>
      </p:sp>
      <p:pic>
        <p:nvPicPr>
          <p:cNvPr id="55" name="Imagem 54">
            <a:extLst>
              <a:ext uri="{FF2B5EF4-FFF2-40B4-BE49-F238E27FC236}">
                <a16:creationId xmlns:a16="http://schemas.microsoft.com/office/drawing/2014/main" xmlns="" id="{2AA3F1CC-6F31-4B1D-B2EA-0F0403C19A9B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4657" y="6531928"/>
            <a:ext cx="2160000" cy="21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71878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8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3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6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2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5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0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3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6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9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2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5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 animBg="1"/>
      <p:bldP spid="24" grpId="0" animBg="1"/>
      <p:bldP spid="9" grpId="0"/>
      <p:bldP spid="25" grpId="0" animBg="1"/>
      <p:bldP spid="27" grpId="0"/>
      <p:bldP spid="38" grpId="0" animBg="1"/>
      <p:bldP spid="33" grpId="0"/>
      <p:bldP spid="54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ela 4">
            <a:extLst>
              <a:ext uri="{FF2B5EF4-FFF2-40B4-BE49-F238E27FC236}">
                <a16:creationId xmlns:a16="http://schemas.microsoft.com/office/drawing/2014/main" xmlns="" id="{AABB76E7-3794-4F13-810A-9A4AA4E20A3A}"/>
              </a:ext>
            </a:extLst>
          </p:cNvPr>
          <p:cNvGraphicFramePr>
            <a:graphicFrameLocks noGrp="1"/>
          </p:cNvGraphicFramePr>
          <p:nvPr/>
        </p:nvGraphicFramePr>
        <p:xfrm>
          <a:off x="1656520" y="1967944"/>
          <a:ext cx="21070959" cy="101208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010137">
                  <a:extLst>
                    <a:ext uri="{9D8B030D-6E8A-4147-A177-3AD203B41FA5}">
                      <a16:colId xmlns:a16="http://schemas.microsoft.com/office/drawing/2014/main" xmlns="" val="2525267097"/>
                    </a:ext>
                  </a:extLst>
                </a:gridCol>
                <a:gridCol w="3010137">
                  <a:extLst>
                    <a:ext uri="{9D8B030D-6E8A-4147-A177-3AD203B41FA5}">
                      <a16:colId xmlns:a16="http://schemas.microsoft.com/office/drawing/2014/main" xmlns="" val="3801845800"/>
                    </a:ext>
                  </a:extLst>
                </a:gridCol>
                <a:gridCol w="3010137">
                  <a:extLst>
                    <a:ext uri="{9D8B030D-6E8A-4147-A177-3AD203B41FA5}">
                      <a16:colId xmlns:a16="http://schemas.microsoft.com/office/drawing/2014/main" xmlns="" val="3822792634"/>
                    </a:ext>
                  </a:extLst>
                </a:gridCol>
                <a:gridCol w="3010137">
                  <a:extLst>
                    <a:ext uri="{9D8B030D-6E8A-4147-A177-3AD203B41FA5}">
                      <a16:colId xmlns:a16="http://schemas.microsoft.com/office/drawing/2014/main" xmlns="" val="2618214725"/>
                    </a:ext>
                  </a:extLst>
                </a:gridCol>
                <a:gridCol w="3010137">
                  <a:extLst>
                    <a:ext uri="{9D8B030D-6E8A-4147-A177-3AD203B41FA5}">
                      <a16:colId xmlns:a16="http://schemas.microsoft.com/office/drawing/2014/main" xmlns="" val="103242438"/>
                    </a:ext>
                  </a:extLst>
                </a:gridCol>
                <a:gridCol w="3010137">
                  <a:extLst>
                    <a:ext uri="{9D8B030D-6E8A-4147-A177-3AD203B41FA5}">
                      <a16:colId xmlns:a16="http://schemas.microsoft.com/office/drawing/2014/main" xmlns="" val="1765170080"/>
                    </a:ext>
                  </a:extLst>
                </a:gridCol>
                <a:gridCol w="3010137">
                  <a:extLst>
                    <a:ext uri="{9D8B030D-6E8A-4147-A177-3AD203B41FA5}">
                      <a16:colId xmlns:a16="http://schemas.microsoft.com/office/drawing/2014/main" xmlns="" val="3523866368"/>
                    </a:ext>
                  </a:extLst>
                </a:gridCol>
              </a:tblGrid>
              <a:tr h="934279">
                <a:tc gridSpan="7">
                  <a:txBody>
                    <a:bodyPr/>
                    <a:lstStyle/>
                    <a:p>
                      <a:pPr algn="ctr"/>
                      <a:r>
                        <a:rPr lang="pt-BR" sz="2800" b="1"/>
                        <a:t>OUTUBRO DE 2021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44F1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44F1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44F1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44F1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061234507"/>
                  </a:ext>
                </a:extLst>
              </a:tr>
              <a:tr h="1008112">
                <a:tc>
                  <a:txBody>
                    <a:bodyPr/>
                    <a:lstStyle/>
                    <a:p>
                      <a:pPr algn="ctr"/>
                      <a:r>
                        <a:rPr lang="pt-BR" sz="2400" b="1"/>
                        <a:t>DOM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44F1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8100" cap="flat" cmpd="sng" algn="ctr">
                      <a:solidFill>
                        <a:srgbClr val="F44F1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400" b="1"/>
                        <a:t>SEG</a:t>
                      </a:r>
                    </a:p>
                  </a:txBody>
                  <a:tcPr anchor="ctr">
                    <a:lnT w="38100" cap="flat" cmpd="sng" algn="ctr">
                      <a:solidFill>
                        <a:srgbClr val="F44F1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800" b="1"/>
                        <a:t>TER</a:t>
                      </a:r>
                    </a:p>
                  </a:txBody>
                  <a:tcPr anchor="ctr">
                    <a:lnT w="38100" cap="flat" cmpd="sng" algn="ctr">
                      <a:solidFill>
                        <a:srgbClr val="F44F1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800" b="1"/>
                        <a:t>QUA</a:t>
                      </a:r>
                    </a:p>
                  </a:txBody>
                  <a:tcPr anchor="ctr">
                    <a:lnT w="38100" cap="flat" cmpd="sng" algn="ctr">
                      <a:solidFill>
                        <a:srgbClr val="F44F1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800" b="1"/>
                        <a:t>QUI</a:t>
                      </a:r>
                    </a:p>
                  </a:txBody>
                  <a:tcPr anchor="ctr">
                    <a:lnT w="38100" cap="flat" cmpd="sng" algn="ctr">
                      <a:solidFill>
                        <a:srgbClr val="F44F1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800" b="1"/>
                        <a:t>SEX</a:t>
                      </a:r>
                    </a:p>
                  </a:txBody>
                  <a:tcPr anchor="ctr">
                    <a:lnT w="38100" cap="flat" cmpd="sng" algn="ctr">
                      <a:solidFill>
                        <a:srgbClr val="F44F1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800" b="1"/>
                        <a:t>SAB</a:t>
                      </a:r>
                    </a:p>
                  </a:txBody>
                  <a:tcPr anchor="ctr">
                    <a:lnR w="38100" cap="flat" cmpd="sng" algn="ctr">
                      <a:solidFill>
                        <a:srgbClr val="F44F1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44F1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070055423"/>
                  </a:ext>
                </a:extLst>
              </a:tr>
              <a:tr h="1635697">
                <a:tc>
                  <a:txBody>
                    <a:bodyPr/>
                    <a:lstStyle/>
                    <a:p>
                      <a:endParaRPr lang="pt-BR" b="1"/>
                    </a:p>
                  </a:txBody>
                  <a:tcPr>
                    <a:lnL w="38100" cap="flat" cmpd="sng" algn="ctr">
                      <a:solidFill>
                        <a:srgbClr val="F44F1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endParaRPr lang="pt-BR" b="1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b="1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b="1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b="1"/>
                        <a:t>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b="1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b="1"/>
                        <a:t>2</a:t>
                      </a:r>
                    </a:p>
                  </a:txBody>
                  <a:tcPr>
                    <a:lnR w="38100" cap="flat" cmpd="sng" algn="ctr">
                      <a:solidFill>
                        <a:srgbClr val="F44F1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xmlns="" val="987876595"/>
                  </a:ext>
                </a:extLst>
              </a:tr>
              <a:tr h="1635697">
                <a:tc>
                  <a:txBody>
                    <a:bodyPr/>
                    <a:lstStyle/>
                    <a:p>
                      <a:r>
                        <a:rPr lang="pt-BR" b="1"/>
                        <a:t>3</a:t>
                      </a:r>
                    </a:p>
                  </a:txBody>
                  <a:tcPr>
                    <a:lnL w="38100" cap="flat" cmpd="sng" algn="ctr">
                      <a:solidFill>
                        <a:srgbClr val="F44F1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r>
                        <a:rPr lang="pt-BR" b="1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b="1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b="1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b="1"/>
                        <a:t>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b="1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b="1"/>
                        <a:t>9</a:t>
                      </a:r>
                    </a:p>
                  </a:txBody>
                  <a:tcPr>
                    <a:lnR w="38100" cap="flat" cmpd="sng" algn="ctr">
                      <a:solidFill>
                        <a:srgbClr val="F44F1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xmlns="" val="139808975"/>
                  </a:ext>
                </a:extLst>
              </a:tr>
              <a:tr h="1635697">
                <a:tc>
                  <a:txBody>
                    <a:bodyPr/>
                    <a:lstStyle/>
                    <a:p>
                      <a:r>
                        <a:rPr lang="pt-BR" b="1"/>
                        <a:t>10</a:t>
                      </a:r>
                    </a:p>
                  </a:txBody>
                  <a:tcPr>
                    <a:lnL w="38100" cap="flat" cmpd="sng" algn="ctr">
                      <a:solidFill>
                        <a:srgbClr val="F44F1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r>
                        <a:rPr lang="pt-BR" b="1"/>
                        <a:t>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b="1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b="1"/>
                        <a:t>1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b="1"/>
                        <a:t>1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b="1"/>
                        <a:t>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b="1"/>
                        <a:t>16</a:t>
                      </a:r>
                    </a:p>
                    <a:p>
                      <a:endParaRPr lang="pt-BR" b="1"/>
                    </a:p>
                  </a:txBody>
                  <a:tcPr>
                    <a:lnR w="38100" cap="flat" cmpd="sng" algn="ctr">
                      <a:solidFill>
                        <a:srgbClr val="F44F1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xmlns="" val="3163058627"/>
                  </a:ext>
                </a:extLst>
              </a:tr>
              <a:tr h="1635697">
                <a:tc>
                  <a:txBody>
                    <a:bodyPr/>
                    <a:lstStyle/>
                    <a:p>
                      <a:r>
                        <a:rPr lang="pt-BR" b="1"/>
                        <a:t>17</a:t>
                      </a:r>
                    </a:p>
                  </a:txBody>
                  <a:tcPr>
                    <a:lnL w="38100" cap="flat" cmpd="sng" algn="ctr">
                      <a:solidFill>
                        <a:srgbClr val="F44F1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r>
                        <a:rPr lang="pt-BR" b="1"/>
                        <a:t>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b="1"/>
                        <a:t>1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b="1"/>
                        <a:t>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b="1"/>
                        <a:t>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b="1"/>
                        <a:t>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b="1"/>
                        <a:t>23</a:t>
                      </a:r>
                    </a:p>
                  </a:txBody>
                  <a:tcPr>
                    <a:lnR w="38100" cap="flat" cmpd="sng" algn="ctr">
                      <a:solidFill>
                        <a:srgbClr val="F44F1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xmlns="" val="4043850814"/>
                  </a:ext>
                </a:extLst>
              </a:tr>
              <a:tr h="1635697">
                <a:tc>
                  <a:txBody>
                    <a:bodyPr/>
                    <a:lstStyle/>
                    <a:p>
                      <a:r>
                        <a:rPr lang="pt-BR" b="1"/>
                        <a:t>24</a:t>
                      </a:r>
                    </a:p>
                  </a:txBody>
                  <a:tcPr>
                    <a:lnL w="38100" cap="flat" cmpd="sng" algn="ctr">
                      <a:solidFill>
                        <a:srgbClr val="F44F1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38100" cap="flat" cmpd="sng" algn="ctr">
                      <a:solidFill>
                        <a:srgbClr val="F44F1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pt-BR" b="1"/>
                        <a:t>25</a:t>
                      </a:r>
                    </a:p>
                  </a:txBody>
                  <a:tcPr>
                    <a:lnB w="38100" cap="flat" cmpd="sng" algn="ctr">
                      <a:solidFill>
                        <a:srgbClr val="F44F1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pt-BR" b="1"/>
                        <a:t>26</a:t>
                      </a:r>
                    </a:p>
                  </a:txBody>
                  <a:tcPr>
                    <a:lnB w="38100" cap="flat" cmpd="sng" algn="ctr">
                      <a:solidFill>
                        <a:srgbClr val="F44F1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pt-BR" b="1"/>
                        <a:t>27</a:t>
                      </a:r>
                    </a:p>
                  </a:txBody>
                  <a:tcPr>
                    <a:lnB w="38100" cap="flat" cmpd="sng" algn="ctr">
                      <a:solidFill>
                        <a:srgbClr val="F44F1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pt-BR" b="1"/>
                        <a:t>28</a:t>
                      </a:r>
                    </a:p>
                  </a:txBody>
                  <a:tcPr>
                    <a:lnB w="38100" cap="flat" cmpd="sng" algn="ctr">
                      <a:solidFill>
                        <a:srgbClr val="F44F1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pt-BR" b="1"/>
                        <a:t>29</a:t>
                      </a:r>
                    </a:p>
                  </a:txBody>
                  <a:tcPr>
                    <a:lnB w="38100" cap="flat" cmpd="sng" algn="ctr">
                      <a:solidFill>
                        <a:srgbClr val="F44F1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pt-BR" b="1"/>
                        <a:t>30</a:t>
                      </a:r>
                    </a:p>
                  </a:txBody>
                  <a:tcPr>
                    <a:lnR w="38100" cap="flat" cmpd="sng" algn="ctr">
                      <a:solidFill>
                        <a:srgbClr val="F44F1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ap="flat" cmpd="sng" algn="ctr">
                      <a:solidFill>
                        <a:srgbClr val="F44F1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816132296"/>
                  </a:ext>
                </a:extLst>
              </a:tr>
            </a:tbl>
          </a:graphicData>
        </a:graphic>
      </p:graphicFrame>
      <p:pic>
        <p:nvPicPr>
          <p:cNvPr id="9" name="Imagem 8" descr="Uma imagem contendo placar&#10;&#10;Descrição gerada automaticamente">
            <a:extLst>
              <a:ext uri="{FF2B5EF4-FFF2-40B4-BE49-F238E27FC236}">
                <a16:creationId xmlns:a16="http://schemas.microsoft.com/office/drawing/2014/main" xmlns="" id="{8903F93D-8128-4FAE-BAFB-F053340B0A2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30367" y="8759672"/>
            <a:ext cx="1080000" cy="1080000"/>
          </a:xfrm>
          <a:prstGeom prst="rect">
            <a:avLst/>
          </a:prstGeom>
        </p:spPr>
      </p:pic>
      <p:pic>
        <p:nvPicPr>
          <p:cNvPr id="10" name="Imagem 9" descr="Uma imagem contendo placar&#10;&#10;Descrição gerada automaticamente">
            <a:extLst>
              <a:ext uri="{FF2B5EF4-FFF2-40B4-BE49-F238E27FC236}">
                <a16:creationId xmlns:a16="http://schemas.microsoft.com/office/drawing/2014/main" xmlns="" id="{5A710839-712C-4824-BC91-01DAE0D0670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528307" y="8759672"/>
            <a:ext cx="1080000" cy="1080000"/>
          </a:xfrm>
          <a:prstGeom prst="rect">
            <a:avLst/>
          </a:prstGeom>
        </p:spPr>
      </p:pic>
      <p:pic>
        <p:nvPicPr>
          <p:cNvPr id="12" name="Imagem 11" descr="Uma imagem contendo placar, camisa, relógio&#10;&#10;Descrição gerada automaticamente">
            <a:extLst>
              <a:ext uri="{FF2B5EF4-FFF2-40B4-BE49-F238E27FC236}">
                <a16:creationId xmlns:a16="http://schemas.microsoft.com/office/drawing/2014/main" xmlns="" id="{68893714-1ABE-4EE9-BABF-D2BBAC3B00B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44176" y="8058907"/>
            <a:ext cx="720000" cy="720000"/>
          </a:xfrm>
          <a:prstGeom prst="rect">
            <a:avLst/>
          </a:prstGeom>
        </p:spPr>
      </p:pic>
      <p:pic>
        <p:nvPicPr>
          <p:cNvPr id="13" name="Imagem 12" descr="Ícone&#10;&#10;Descrição gerada automaticamente">
            <a:extLst>
              <a:ext uri="{FF2B5EF4-FFF2-40B4-BE49-F238E27FC236}">
                <a16:creationId xmlns:a16="http://schemas.microsoft.com/office/drawing/2014/main" xmlns="" id="{0B56B1A0-1B9A-4CA0-ACAC-E4CE17947A0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88850" y="3856890"/>
            <a:ext cx="1080000" cy="1080000"/>
          </a:xfrm>
          <a:prstGeom prst="rect">
            <a:avLst/>
          </a:prstGeom>
        </p:spPr>
      </p:pic>
      <p:pic>
        <p:nvPicPr>
          <p:cNvPr id="15" name="Imagem 14" descr="Ícone&#10;&#10;Descrição gerada automaticamente">
            <a:extLst>
              <a:ext uri="{FF2B5EF4-FFF2-40B4-BE49-F238E27FC236}">
                <a16:creationId xmlns:a16="http://schemas.microsoft.com/office/drawing/2014/main" xmlns="" id="{A5EA68FF-41E4-4378-AADD-8189527537B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2307" y="5522385"/>
            <a:ext cx="1080000" cy="1080000"/>
          </a:xfrm>
          <a:prstGeom prst="rect">
            <a:avLst/>
          </a:prstGeom>
        </p:spPr>
      </p:pic>
      <p:pic>
        <p:nvPicPr>
          <p:cNvPr id="17" name="Imagem 16" descr="Desenho de personagem&#10;&#10;Descrição gerada automaticamente com confiança baixa">
            <a:extLst>
              <a:ext uri="{FF2B5EF4-FFF2-40B4-BE49-F238E27FC236}">
                <a16:creationId xmlns:a16="http://schemas.microsoft.com/office/drawing/2014/main" xmlns="" id="{0CE78BB1-232C-48ED-ABAF-5871A504985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85048" y="7241222"/>
            <a:ext cx="720000" cy="720000"/>
          </a:xfrm>
          <a:prstGeom prst="rect">
            <a:avLst/>
          </a:prstGeom>
        </p:spPr>
      </p:pic>
      <p:sp>
        <p:nvSpPr>
          <p:cNvPr id="18" name="CaixaDeTexto 17">
            <a:extLst>
              <a:ext uri="{FF2B5EF4-FFF2-40B4-BE49-F238E27FC236}">
                <a16:creationId xmlns:a16="http://schemas.microsoft.com/office/drawing/2014/main" xmlns="" id="{44339592-EB93-4C17-8510-484D97962D58}"/>
              </a:ext>
            </a:extLst>
          </p:cNvPr>
          <p:cNvSpPr txBox="1"/>
          <p:nvPr/>
        </p:nvSpPr>
        <p:spPr>
          <a:xfrm>
            <a:off x="14519721" y="4464116"/>
            <a:ext cx="2121751" cy="1046438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algn="ctr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sz="28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rPr>
              <a:t>Questionário Associados</a:t>
            </a:r>
          </a:p>
        </p:txBody>
      </p:sp>
      <p:sp>
        <p:nvSpPr>
          <p:cNvPr id="21" name="CaixaDeTexto 20">
            <a:extLst>
              <a:ext uri="{FF2B5EF4-FFF2-40B4-BE49-F238E27FC236}">
                <a16:creationId xmlns:a16="http://schemas.microsoft.com/office/drawing/2014/main" xmlns="" id="{AF57DA5E-75BF-4706-8642-A0049C0A9A6C}"/>
              </a:ext>
            </a:extLst>
          </p:cNvPr>
          <p:cNvSpPr txBox="1"/>
          <p:nvPr/>
        </p:nvSpPr>
        <p:spPr>
          <a:xfrm>
            <a:off x="11534624" y="6098613"/>
            <a:ext cx="2121751" cy="1046438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algn="ctr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sz="28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rPr>
              <a:t>Questionário Instituições</a:t>
            </a:r>
          </a:p>
        </p:txBody>
      </p:sp>
      <p:sp>
        <p:nvSpPr>
          <p:cNvPr id="22" name="CaixaDeTexto 21">
            <a:extLst>
              <a:ext uri="{FF2B5EF4-FFF2-40B4-BE49-F238E27FC236}">
                <a16:creationId xmlns:a16="http://schemas.microsoft.com/office/drawing/2014/main" xmlns="" id="{08396BDC-5B1D-4511-AC34-3B9F1C0571A7}"/>
              </a:ext>
            </a:extLst>
          </p:cNvPr>
          <p:cNvSpPr txBox="1"/>
          <p:nvPr/>
        </p:nvSpPr>
        <p:spPr>
          <a:xfrm>
            <a:off x="17373601" y="8215368"/>
            <a:ext cx="2274662" cy="492440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algn="ctr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2000" b="1"/>
              <a:t>SEXTOU </a:t>
            </a:r>
            <a:r>
              <a:rPr kumimoji="0" lang="pt-BR" sz="20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sym typeface="Calibri"/>
              </a:rPr>
              <a:t>NO SWOT</a:t>
            </a:r>
          </a:p>
        </p:txBody>
      </p:sp>
      <p:sp>
        <p:nvSpPr>
          <p:cNvPr id="24" name="CaixaDeTexto 23">
            <a:extLst>
              <a:ext uri="{FF2B5EF4-FFF2-40B4-BE49-F238E27FC236}">
                <a16:creationId xmlns:a16="http://schemas.microsoft.com/office/drawing/2014/main" xmlns="" id="{D18D5651-9305-433F-BBD2-D59967DB39BC}"/>
              </a:ext>
            </a:extLst>
          </p:cNvPr>
          <p:cNvSpPr txBox="1"/>
          <p:nvPr/>
        </p:nvSpPr>
        <p:spPr>
          <a:xfrm>
            <a:off x="17089253" y="7141133"/>
            <a:ext cx="2670938" cy="1107994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algn="ctr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sz="20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sym typeface="Calibri"/>
              </a:rPr>
              <a:t>WS: </a:t>
            </a:r>
          </a:p>
          <a:p>
            <a:pPr marL="0" marR="0" indent="0" algn="ctr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2000" b="1"/>
              <a:t>“Seca e Mudanças Climáticas”</a:t>
            </a:r>
            <a:endParaRPr kumimoji="0" lang="pt-BR" sz="2000" b="1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sym typeface="Calibri"/>
            </a:endParaRPr>
          </a:p>
        </p:txBody>
      </p:sp>
      <p:sp>
        <p:nvSpPr>
          <p:cNvPr id="25" name="CaixaDeTexto 24">
            <a:extLst>
              <a:ext uri="{FF2B5EF4-FFF2-40B4-BE49-F238E27FC236}">
                <a16:creationId xmlns:a16="http://schemas.microsoft.com/office/drawing/2014/main" xmlns="" id="{070065DC-B712-47BB-981A-06FC7CA1435E}"/>
              </a:ext>
            </a:extLst>
          </p:cNvPr>
          <p:cNvSpPr txBox="1"/>
          <p:nvPr/>
        </p:nvSpPr>
        <p:spPr>
          <a:xfrm>
            <a:off x="14567326" y="9799584"/>
            <a:ext cx="2117722" cy="615551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sz="28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rPr>
              <a:t>BANDEIRAS</a:t>
            </a:r>
          </a:p>
        </p:txBody>
      </p:sp>
      <p:sp>
        <p:nvSpPr>
          <p:cNvPr id="26" name="CaixaDeTexto 25">
            <a:extLst>
              <a:ext uri="{FF2B5EF4-FFF2-40B4-BE49-F238E27FC236}">
                <a16:creationId xmlns:a16="http://schemas.microsoft.com/office/drawing/2014/main" xmlns="" id="{0D20FB70-095A-46A0-8C5C-74016DCBA736}"/>
              </a:ext>
            </a:extLst>
          </p:cNvPr>
          <p:cNvSpPr txBox="1"/>
          <p:nvPr/>
        </p:nvSpPr>
        <p:spPr>
          <a:xfrm>
            <a:off x="17530541" y="9834060"/>
            <a:ext cx="2117722" cy="615551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sz="28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rPr>
              <a:t>BANDEIRAS</a:t>
            </a:r>
          </a:p>
        </p:txBody>
      </p:sp>
      <p:sp>
        <p:nvSpPr>
          <p:cNvPr id="27" name="Título 1">
            <a:extLst>
              <a:ext uri="{FF2B5EF4-FFF2-40B4-BE49-F238E27FC236}">
                <a16:creationId xmlns:a16="http://schemas.microsoft.com/office/drawing/2014/main" xmlns="" id="{E852A926-0660-4CDD-8A20-B2006F1D0368}"/>
              </a:ext>
            </a:extLst>
          </p:cNvPr>
          <p:cNvSpPr txBox="1">
            <a:spLocks/>
          </p:cNvSpPr>
          <p:nvPr/>
        </p:nvSpPr>
        <p:spPr>
          <a:xfrm>
            <a:off x="0" y="617816"/>
            <a:ext cx="24384000" cy="782433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pt-BR" sz="4800" b="1">
                <a:solidFill>
                  <a:srgbClr val="F44F1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Outubro foi um mês agitado para os associados da Abraceel...</a:t>
            </a:r>
          </a:p>
        </p:txBody>
      </p:sp>
    </p:spTree>
    <p:extLst>
      <p:ext uri="{BB962C8B-B14F-4D97-AF65-F5344CB8AC3E}">
        <p14:creationId xmlns:p14="http://schemas.microsoft.com/office/powerpoint/2010/main" val="311868340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FBA1A92B-1C58-40F9-93D9-236F1B48D9F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0" name="Slide do think-cell" r:id="rId5" imgW="351" imgH="351" progId="TCLayout.ActiveDocument.1">
                  <p:embed/>
                </p:oleObj>
              </mc:Choice>
              <mc:Fallback>
                <p:oleObj name="Slide do think-cell" r:id="rId5" imgW="351" imgH="351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xmlns="" id="{FBA1A92B-1C58-40F9-93D9-236F1B48D9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Imagem 7">
            <a:extLst>
              <a:ext uri="{FF2B5EF4-FFF2-40B4-BE49-F238E27FC236}">
                <a16:creationId xmlns:a16="http://schemas.microsoft.com/office/drawing/2014/main" xmlns="" id="{6521D586-C1A8-49A6-8AEE-9CC1B16B0BA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21175300">
            <a:off x="1114216" y="6234780"/>
            <a:ext cx="5400000" cy="30375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67" name="CaixaDeTexto 66">
            <a:extLst>
              <a:ext uri="{FF2B5EF4-FFF2-40B4-BE49-F238E27FC236}">
                <a16:creationId xmlns:a16="http://schemas.microsoft.com/office/drawing/2014/main" xmlns="" id="{C017F989-5237-4D34-9FB2-D3E4C936F614}"/>
              </a:ext>
            </a:extLst>
          </p:cNvPr>
          <p:cNvSpPr txBox="1"/>
          <p:nvPr/>
        </p:nvSpPr>
        <p:spPr>
          <a:xfrm>
            <a:off x="0" y="6132"/>
            <a:ext cx="2438400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5400" b="1" i="1">
                <a:solidFill>
                  <a:schemeClr val="tx1"/>
                </a:solidFill>
              </a:rPr>
              <a:t>Discutimos como as Bandeiras da ABRACEEL são importantes </a:t>
            </a:r>
            <a:br>
              <a:rPr lang="pt-BR" sz="5400" b="1" i="1">
                <a:solidFill>
                  <a:schemeClr val="tx1"/>
                </a:solidFill>
              </a:rPr>
            </a:br>
            <a:r>
              <a:rPr lang="pt-BR" sz="5400" b="1" i="1">
                <a:solidFill>
                  <a:schemeClr val="tx1"/>
                </a:solidFill>
              </a:rPr>
              <a:t>no enfrentamento de secas severas... </a:t>
            </a:r>
          </a:p>
        </p:txBody>
      </p:sp>
      <p:pic>
        <p:nvPicPr>
          <p:cNvPr id="9" name="Imagem 8">
            <a:extLst>
              <a:ext uri="{FF2B5EF4-FFF2-40B4-BE49-F238E27FC236}">
                <a16:creationId xmlns:a16="http://schemas.microsoft.com/office/drawing/2014/main" xmlns="" id="{66377AE3-5392-4B65-A61C-70E2E7CD21B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rot="21288768">
            <a:off x="412651" y="10256996"/>
            <a:ext cx="5400000" cy="30375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6" name="Imagem 65">
            <a:extLst>
              <a:ext uri="{FF2B5EF4-FFF2-40B4-BE49-F238E27FC236}">
                <a16:creationId xmlns:a16="http://schemas.microsoft.com/office/drawing/2014/main" xmlns="" id="{053903E0-E932-4887-8585-FBBACFE2898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 rot="21261440">
            <a:off x="6465549" y="10488549"/>
            <a:ext cx="5400000" cy="30375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9" name="Imagem 68">
            <a:extLst>
              <a:ext uri="{FF2B5EF4-FFF2-40B4-BE49-F238E27FC236}">
                <a16:creationId xmlns:a16="http://schemas.microsoft.com/office/drawing/2014/main" xmlns="" id="{480FBEE9-454C-4A8B-B3D8-F09608C8201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 rot="21383611">
            <a:off x="598421" y="2196891"/>
            <a:ext cx="5400001" cy="30375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1" name="Imagem 70">
            <a:extLst>
              <a:ext uri="{FF2B5EF4-FFF2-40B4-BE49-F238E27FC236}">
                <a16:creationId xmlns:a16="http://schemas.microsoft.com/office/drawing/2014/main" xmlns="" id="{2AE13B77-C200-4F78-B0DF-7B5EB2A12B63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 rot="277146">
            <a:off x="18571349" y="10256996"/>
            <a:ext cx="5400000" cy="30375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2" name="Imagem 71">
            <a:extLst>
              <a:ext uri="{FF2B5EF4-FFF2-40B4-BE49-F238E27FC236}">
                <a16:creationId xmlns:a16="http://schemas.microsoft.com/office/drawing/2014/main" xmlns="" id="{39D9F2D1-D6AD-4DC3-BE0D-4A4C9CE154AC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 rot="269256">
            <a:off x="12518449" y="10389844"/>
            <a:ext cx="5400000" cy="30375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3" name="Imagem 72">
            <a:extLst>
              <a:ext uri="{FF2B5EF4-FFF2-40B4-BE49-F238E27FC236}">
                <a16:creationId xmlns:a16="http://schemas.microsoft.com/office/drawing/2014/main" xmlns="" id="{0E0966F0-A43B-4158-93B1-A122AA530B94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 rot="21372019">
            <a:off x="6424013" y="2063541"/>
            <a:ext cx="5400000" cy="30375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4" name="Imagem 73">
            <a:extLst>
              <a:ext uri="{FF2B5EF4-FFF2-40B4-BE49-F238E27FC236}">
                <a16:creationId xmlns:a16="http://schemas.microsoft.com/office/drawing/2014/main" xmlns="" id="{E26BD240-228E-4EBB-9739-EECCF6E3082D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 rot="265876">
            <a:off x="12517165" y="2063542"/>
            <a:ext cx="5400000" cy="30375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5" name="Imagem 74">
            <a:extLst>
              <a:ext uri="{FF2B5EF4-FFF2-40B4-BE49-F238E27FC236}">
                <a16:creationId xmlns:a16="http://schemas.microsoft.com/office/drawing/2014/main" xmlns="" id="{F4C9805F-82F0-4793-8441-C7CE9CF14C32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 rot="251940">
            <a:off x="18561767" y="2196893"/>
            <a:ext cx="5400000" cy="30375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6" name="Imagem 75">
            <a:extLst>
              <a:ext uri="{FF2B5EF4-FFF2-40B4-BE49-F238E27FC236}">
                <a16:creationId xmlns:a16="http://schemas.microsoft.com/office/drawing/2014/main" xmlns="" id="{2335AEE6-6A6B-4A84-8C7D-133279A7AADB}"/>
              </a:ext>
            </a:extLst>
          </p:cNvPr>
          <p:cNvPicPr>
            <a:picLocks noChangeAspect="1"/>
          </p:cNvPicPr>
          <p:nvPr/>
        </p:nvPicPr>
        <p:blipFill rotWithShape="1">
          <a:blip r:embed="rId16"/>
          <a:srcRect t="2188" b="8924"/>
          <a:stretch/>
        </p:blipFill>
        <p:spPr>
          <a:xfrm>
            <a:off x="7313870" y="5342950"/>
            <a:ext cx="9756260" cy="487813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7" name="Imagem 76">
            <a:extLst>
              <a:ext uri="{FF2B5EF4-FFF2-40B4-BE49-F238E27FC236}">
                <a16:creationId xmlns:a16="http://schemas.microsoft.com/office/drawing/2014/main" xmlns="" id="{FA4BB436-3BB5-4D40-A344-25265A421711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 rot="412164">
            <a:off x="17688600" y="6225679"/>
            <a:ext cx="5400000" cy="30375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092120132"/>
      </p:ext>
    </p:extLst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FBA1A92B-1C58-40F9-93D9-236F1B48D9F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08" name="Slide do think-cell" r:id="rId5" imgW="351" imgH="351" progId="TCLayout.ActiveDocument.1">
                  <p:embed/>
                </p:oleObj>
              </mc:Choice>
              <mc:Fallback>
                <p:oleObj name="Slide do think-cell" r:id="rId5" imgW="351" imgH="351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xmlns="" id="{FBA1A92B-1C58-40F9-93D9-236F1B48D9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7" name="CaixaDeTexto 66">
            <a:extLst>
              <a:ext uri="{FF2B5EF4-FFF2-40B4-BE49-F238E27FC236}">
                <a16:creationId xmlns:a16="http://schemas.microsoft.com/office/drawing/2014/main" xmlns="" id="{C017F989-5237-4D34-9FB2-D3E4C936F614}"/>
              </a:ext>
            </a:extLst>
          </p:cNvPr>
          <p:cNvSpPr txBox="1"/>
          <p:nvPr/>
        </p:nvSpPr>
        <p:spPr>
          <a:xfrm>
            <a:off x="0" y="467320"/>
            <a:ext cx="243840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5400" b="1" i="1">
                <a:solidFill>
                  <a:schemeClr val="tx1"/>
                </a:solidFill>
              </a:rPr>
              <a:t>Apresentamos o Resultado da Análise SWOT com os associados</a:t>
            </a: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xmlns="" id="{C98D12C7-7659-46A2-AE2F-9EC4A9DCF7B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1845493"/>
            <a:ext cx="12083982" cy="3763863"/>
          </a:xfrm>
          <a:prstGeom prst="rect">
            <a:avLst/>
          </a:prstGeom>
        </p:spPr>
      </p:pic>
      <p:pic>
        <p:nvPicPr>
          <p:cNvPr id="5" name="Imagem 4">
            <a:extLst>
              <a:ext uri="{FF2B5EF4-FFF2-40B4-BE49-F238E27FC236}">
                <a16:creationId xmlns:a16="http://schemas.microsoft.com/office/drawing/2014/main" xmlns="" id="{FF22CFA4-C888-49D8-97AC-9CCD0AFC93E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300019" y="1845494"/>
            <a:ext cx="12083981" cy="4490470"/>
          </a:xfrm>
          <a:prstGeom prst="rect">
            <a:avLst/>
          </a:prstGeom>
        </p:spPr>
      </p:pic>
      <p:pic>
        <p:nvPicPr>
          <p:cNvPr id="10" name="Imagem 9">
            <a:extLst>
              <a:ext uri="{FF2B5EF4-FFF2-40B4-BE49-F238E27FC236}">
                <a16:creationId xmlns:a16="http://schemas.microsoft.com/office/drawing/2014/main" xmlns="" id="{EB6591FB-62B9-46E0-B9A0-907ECFCB459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0" y="7380036"/>
            <a:ext cx="12083981" cy="2847879"/>
          </a:xfrm>
          <a:prstGeom prst="rect">
            <a:avLst/>
          </a:prstGeom>
        </p:spPr>
      </p:pic>
      <p:pic>
        <p:nvPicPr>
          <p:cNvPr id="11" name="Imagem 10">
            <a:extLst>
              <a:ext uri="{FF2B5EF4-FFF2-40B4-BE49-F238E27FC236}">
                <a16:creationId xmlns:a16="http://schemas.microsoft.com/office/drawing/2014/main" xmlns="" id="{7F7DD993-64F9-45A6-96D1-5DA341BD062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2309476" y="7380036"/>
            <a:ext cx="12074523" cy="5135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6240701"/>
      </p:ext>
    </p:extLst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>
            <a:extLst>
              <a:ext uri="{FF2B5EF4-FFF2-40B4-BE49-F238E27FC236}">
                <a16:creationId xmlns:a16="http://schemas.microsoft.com/office/drawing/2014/main" xmlns="" id="{0DE66F55-1C1B-4140-A561-C29717F53B0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12444"/>
          <a:stretch/>
        </p:blipFill>
        <p:spPr>
          <a:xfrm>
            <a:off x="-1" y="10"/>
            <a:ext cx="24384001" cy="13715990"/>
          </a:xfrm>
          <a:prstGeom prst="rect">
            <a:avLst/>
          </a:prstGeom>
        </p:spPr>
      </p:pic>
      <p:sp>
        <p:nvSpPr>
          <p:cNvPr id="7" name="CaixaDeTexto 6">
            <a:extLst>
              <a:ext uri="{FF2B5EF4-FFF2-40B4-BE49-F238E27FC236}">
                <a16:creationId xmlns:a16="http://schemas.microsoft.com/office/drawing/2014/main" xmlns="" id="{FEFB6B5A-5E19-49D2-9EA2-1ADDC00555B0}"/>
              </a:ext>
            </a:extLst>
          </p:cNvPr>
          <p:cNvSpPr txBox="1"/>
          <p:nvPr/>
        </p:nvSpPr>
        <p:spPr>
          <a:xfrm>
            <a:off x="9806132" y="10480634"/>
            <a:ext cx="13291666" cy="2548032"/>
          </a:xfrm>
          <a:prstGeom prst="rect">
            <a:avLst/>
          </a:prstGeom>
          <a:noFill/>
          <a:ln w="47625">
            <a:solidFill>
              <a:schemeClr val="tx1"/>
            </a:solidFill>
          </a:ln>
        </p:spPr>
        <p:txBody>
          <a:bodyPr wrap="square" rtlCol="0" anchor="ctr" anchorCtr="0">
            <a:noAutofit/>
          </a:bodyPr>
          <a:lstStyle/>
          <a:p>
            <a:pPr algn="ctr"/>
            <a:endParaRPr lang="pt-BR">
              <a:solidFill>
                <a:schemeClr val="bg1"/>
              </a:solidFill>
            </a:endParaRPr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xmlns="" id="{0676BD5B-D227-4624-BC00-1FFB32DCE2EB}"/>
              </a:ext>
            </a:extLst>
          </p:cNvPr>
          <p:cNvSpPr txBox="1"/>
          <p:nvPr/>
        </p:nvSpPr>
        <p:spPr>
          <a:xfrm>
            <a:off x="9879020" y="10792073"/>
            <a:ext cx="12761416" cy="1925155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pt-BR" sz="480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QUAL O STATUS DAS METAS DO PLANEJAMENTO 2021-2024?</a:t>
            </a:r>
          </a:p>
        </p:txBody>
      </p:sp>
    </p:spTree>
    <p:extLst>
      <p:ext uri="{BB962C8B-B14F-4D97-AF65-F5344CB8AC3E}">
        <p14:creationId xmlns:p14="http://schemas.microsoft.com/office/powerpoint/2010/main" val="2188064370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2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to 11" hidden="1">
            <a:extLst>
              <a:ext uri="{FF2B5EF4-FFF2-40B4-BE49-F238E27FC236}">
                <a16:creationId xmlns:a16="http://schemas.microsoft.com/office/drawing/2014/main" xmlns="" id="{23A450B0-2B61-4D20-94CA-45F5673B6D4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80" name="Slide do think-cell" r:id="rId4" imgW="425" imgH="426" progId="TCLayout.ActiveDocument.1">
                  <p:embed/>
                </p:oleObj>
              </mc:Choice>
              <mc:Fallback>
                <p:oleObj name="Slide do think-cell" r:id="rId4" imgW="425" imgH="426" progId="TCLayout.ActiveDocument.1">
                  <p:embed/>
                  <p:pic>
                    <p:nvPicPr>
                      <p:cNvPr id="12" name="Objeto 11" hidden="1">
                        <a:extLst>
                          <a:ext uri="{FF2B5EF4-FFF2-40B4-BE49-F238E27FC236}">
                            <a16:creationId xmlns:a16="http://schemas.microsoft.com/office/drawing/2014/main" xmlns="" id="{23A450B0-2B61-4D20-94CA-45F5673B6D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ângulo 3">
            <a:extLst>
              <a:ext uri="{FF2B5EF4-FFF2-40B4-BE49-F238E27FC236}">
                <a16:creationId xmlns:a16="http://schemas.microsoft.com/office/drawing/2014/main" xmlns="" id="{B406B8EB-D201-4202-89C9-C43BAD60890B}"/>
              </a:ext>
            </a:extLst>
          </p:cNvPr>
          <p:cNvSpPr/>
          <p:nvPr/>
        </p:nvSpPr>
        <p:spPr>
          <a:xfrm>
            <a:off x="10505350" y="1265635"/>
            <a:ext cx="5871393" cy="11373833"/>
          </a:xfrm>
          <a:prstGeom prst="rect">
            <a:avLst/>
          </a:prstGeom>
          <a:solidFill>
            <a:srgbClr val="C00000"/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" name="Retângulo 2">
            <a:extLst>
              <a:ext uri="{FF2B5EF4-FFF2-40B4-BE49-F238E27FC236}">
                <a16:creationId xmlns:a16="http://schemas.microsoft.com/office/drawing/2014/main" xmlns="" id="{957D6125-2D19-49DE-9EFC-9B6BE4D99F0A}"/>
              </a:ext>
            </a:extLst>
          </p:cNvPr>
          <p:cNvSpPr/>
          <p:nvPr/>
        </p:nvSpPr>
        <p:spPr>
          <a:xfrm>
            <a:off x="2094967" y="1265635"/>
            <a:ext cx="8410383" cy="12022169"/>
          </a:xfrm>
          <a:prstGeom prst="rect">
            <a:avLst/>
          </a:prstGeom>
          <a:solidFill>
            <a:srgbClr val="203864"/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sngStrike" cap="none" spc="0" normalizeH="0" baseline="0">
              <a:ln>
                <a:noFill/>
              </a:ln>
              <a:solidFill>
                <a:srgbClr val="FF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" name="Retângulo 5">
            <a:extLst>
              <a:ext uri="{FF2B5EF4-FFF2-40B4-BE49-F238E27FC236}">
                <a16:creationId xmlns:a16="http://schemas.microsoft.com/office/drawing/2014/main" xmlns="" id="{91487936-7E89-440C-B1B2-E194D615BC7E}"/>
              </a:ext>
            </a:extLst>
          </p:cNvPr>
          <p:cNvSpPr/>
          <p:nvPr/>
        </p:nvSpPr>
        <p:spPr>
          <a:xfrm>
            <a:off x="16376742" y="1265635"/>
            <a:ext cx="5871393" cy="11373833"/>
          </a:xfrm>
          <a:prstGeom prst="rect">
            <a:avLst/>
          </a:prstGeom>
          <a:solidFill>
            <a:srgbClr val="548235"/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" name="Elipse 3">
            <a:extLst>
              <a:ext uri="{FF2B5EF4-FFF2-40B4-BE49-F238E27FC236}">
                <a16:creationId xmlns:a16="http://schemas.microsoft.com/office/drawing/2014/main" xmlns="" id="{68090F76-232A-44DB-A362-A7DBBFA51D0C}"/>
              </a:ext>
            </a:extLst>
          </p:cNvPr>
          <p:cNvSpPr/>
          <p:nvPr/>
        </p:nvSpPr>
        <p:spPr>
          <a:xfrm>
            <a:off x="10584698" y="1602543"/>
            <a:ext cx="1407557" cy="1292661"/>
          </a:xfrm>
          <a:custGeom>
            <a:avLst/>
            <a:gdLst>
              <a:gd name="connsiteX0" fmla="*/ 0 w 3233132"/>
              <a:gd name="connsiteY0" fmla="*/ 1591757 h 3183514"/>
              <a:gd name="connsiteX1" fmla="*/ 1616566 w 3233132"/>
              <a:gd name="connsiteY1" fmla="*/ 0 h 3183514"/>
              <a:gd name="connsiteX2" fmla="*/ 3233132 w 3233132"/>
              <a:gd name="connsiteY2" fmla="*/ 1591757 h 3183514"/>
              <a:gd name="connsiteX3" fmla="*/ 1616566 w 3233132"/>
              <a:gd name="connsiteY3" fmla="*/ 3183514 h 3183514"/>
              <a:gd name="connsiteX4" fmla="*/ 0 w 3233132"/>
              <a:gd name="connsiteY4" fmla="*/ 1591757 h 3183514"/>
              <a:gd name="connsiteX0" fmla="*/ 4861 w 3237993"/>
              <a:gd name="connsiteY0" fmla="*/ 1485431 h 3077188"/>
              <a:gd name="connsiteX1" fmla="*/ 1281185 w 3237993"/>
              <a:gd name="connsiteY1" fmla="*/ 0 h 3077188"/>
              <a:gd name="connsiteX2" fmla="*/ 3237993 w 3237993"/>
              <a:gd name="connsiteY2" fmla="*/ 1485431 h 3077188"/>
              <a:gd name="connsiteX3" fmla="*/ 1621427 w 3237993"/>
              <a:gd name="connsiteY3" fmla="*/ 3077188 h 3077188"/>
              <a:gd name="connsiteX4" fmla="*/ 4861 w 3237993"/>
              <a:gd name="connsiteY4" fmla="*/ 1485431 h 3077188"/>
              <a:gd name="connsiteX0" fmla="*/ 4861 w 3237993"/>
              <a:gd name="connsiteY0" fmla="*/ 1485431 h 2885802"/>
              <a:gd name="connsiteX1" fmla="*/ 1281185 w 3237993"/>
              <a:gd name="connsiteY1" fmla="*/ 0 h 2885802"/>
              <a:gd name="connsiteX2" fmla="*/ 3237993 w 3237993"/>
              <a:gd name="connsiteY2" fmla="*/ 1485431 h 2885802"/>
              <a:gd name="connsiteX3" fmla="*/ 1621427 w 3237993"/>
              <a:gd name="connsiteY3" fmla="*/ 2885802 h 2885802"/>
              <a:gd name="connsiteX4" fmla="*/ 4861 w 3237993"/>
              <a:gd name="connsiteY4" fmla="*/ 1485431 h 2885802"/>
              <a:gd name="connsiteX0" fmla="*/ 2785 w 3065796"/>
              <a:gd name="connsiteY0" fmla="*/ 1485446 h 2885827"/>
              <a:gd name="connsiteX1" fmla="*/ 1279109 w 3065796"/>
              <a:gd name="connsiteY1" fmla="*/ 15 h 2885827"/>
              <a:gd name="connsiteX2" fmla="*/ 3065796 w 3065796"/>
              <a:gd name="connsiteY2" fmla="*/ 1464180 h 2885827"/>
              <a:gd name="connsiteX3" fmla="*/ 1619351 w 3065796"/>
              <a:gd name="connsiteY3" fmla="*/ 2885817 h 2885827"/>
              <a:gd name="connsiteX4" fmla="*/ 2785 w 3065796"/>
              <a:gd name="connsiteY4" fmla="*/ 1485446 h 28858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65796" h="2885827">
                <a:moveTo>
                  <a:pt x="2785" y="1485446"/>
                </a:moveTo>
                <a:cubicBezTo>
                  <a:pt x="-53922" y="1004479"/>
                  <a:pt x="768607" y="3559"/>
                  <a:pt x="1279109" y="15"/>
                </a:cubicBezTo>
                <a:cubicBezTo>
                  <a:pt x="1789611" y="-3529"/>
                  <a:pt x="3065796" y="585077"/>
                  <a:pt x="3065796" y="1464180"/>
                </a:cubicBezTo>
                <a:cubicBezTo>
                  <a:pt x="3065796" y="2343283"/>
                  <a:pt x="2129853" y="2882273"/>
                  <a:pt x="1619351" y="2885817"/>
                </a:cubicBezTo>
                <a:cubicBezTo>
                  <a:pt x="1108849" y="2889361"/>
                  <a:pt x="59492" y="1966413"/>
                  <a:pt x="2785" y="1485446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  <a:alpha val="50000"/>
            </a:schemeClr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2" name="Elipse 3">
            <a:extLst>
              <a:ext uri="{FF2B5EF4-FFF2-40B4-BE49-F238E27FC236}">
                <a16:creationId xmlns:a16="http://schemas.microsoft.com/office/drawing/2014/main" xmlns="" id="{02576D6E-18AF-44A6-B706-41D8632DE102}"/>
              </a:ext>
            </a:extLst>
          </p:cNvPr>
          <p:cNvSpPr/>
          <p:nvPr/>
        </p:nvSpPr>
        <p:spPr>
          <a:xfrm>
            <a:off x="16469996" y="1602543"/>
            <a:ext cx="1407557" cy="1292661"/>
          </a:xfrm>
          <a:custGeom>
            <a:avLst/>
            <a:gdLst>
              <a:gd name="connsiteX0" fmla="*/ 0 w 3233132"/>
              <a:gd name="connsiteY0" fmla="*/ 1591757 h 3183514"/>
              <a:gd name="connsiteX1" fmla="*/ 1616566 w 3233132"/>
              <a:gd name="connsiteY1" fmla="*/ 0 h 3183514"/>
              <a:gd name="connsiteX2" fmla="*/ 3233132 w 3233132"/>
              <a:gd name="connsiteY2" fmla="*/ 1591757 h 3183514"/>
              <a:gd name="connsiteX3" fmla="*/ 1616566 w 3233132"/>
              <a:gd name="connsiteY3" fmla="*/ 3183514 h 3183514"/>
              <a:gd name="connsiteX4" fmla="*/ 0 w 3233132"/>
              <a:gd name="connsiteY4" fmla="*/ 1591757 h 3183514"/>
              <a:gd name="connsiteX0" fmla="*/ 4861 w 3237993"/>
              <a:gd name="connsiteY0" fmla="*/ 1485431 h 3077188"/>
              <a:gd name="connsiteX1" fmla="*/ 1281185 w 3237993"/>
              <a:gd name="connsiteY1" fmla="*/ 0 h 3077188"/>
              <a:gd name="connsiteX2" fmla="*/ 3237993 w 3237993"/>
              <a:gd name="connsiteY2" fmla="*/ 1485431 h 3077188"/>
              <a:gd name="connsiteX3" fmla="*/ 1621427 w 3237993"/>
              <a:gd name="connsiteY3" fmla="*/ 3077188 h 3077188"/>
              <a:gd name="connsiteX4" fmla="*/ 4861 w 3237993"/>
              <a:gd name="connsiteY4" fmla="*/ 1485431 h 3077188"/>
              <a:gd name="connsiteX0" fmla="*/ 4861 w 3237993"/>
              <a:gd name="connsiteY0" fmla="*/ 1485431 h 2885802"/>
              <a:gd name="connsiteX1" fmla="*/ 1281185 w 3237993"/>
              <a:gd name="connsiteY1" fmla="*/ 0 h 2885802"/>
              <a:gd name="connsiteX2" fmla="*/ 3237993 w 3237993"/>
              <a:gd name="connsiteY2" fmla="*/ 1485431 h 2885802"/>
              <a:gd name="connsiteX3" fmla="*/ 1621427 w 3237993"/>
              <a:gd name="connsiteY3" fmla="*/ 2885802 h 2885802"/>
              <a:gd name="connsiteX4" fmla="*/ 4861 w 3237993"/>
              <a:gd name="connsiteY4" fmla="*/ 1485431 h 2885802"/>
              <a:gd name="connsiteX0" fmla="*/ 2785 w 3065796"/>
              <a:gd name="connsiteY0" fmla="*/ 1485446 h 2885827"/>
              <a:gd name="connsiteX1" fmla="*/ 1279109 w 3065796"/>
              <a:gd name="connsiteY1" fmla="*/ 15 h 2885827"/>
              <a:gd name="connsiteX2" fmla="*/ 3065796 w 3065796"/>
              <a:gd name="connsiteY2" fmla="*/ 1464180 h 2885827"/>
              <a:gd name="connsiteX3" fmla="*/ 1619351 w 3065796"/>
              <a:gd name="connsiteY3" fmla="*/ 2885817 h 2885827"/>
              <a:gd name="connsiteX4" fmla="*/ 2785 w 3065796"/>
              <a:gd name="connsiteY4" fmla="*/ 1485446 h 28858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65796" h="2885827">
                <a:moveTo>
                  <a:pt x="2785" y="1485446"/>
                </a:moveTo>
                <a:cubicBezTo>
                  <a:pt x="-53922" y="1004479"/>
                  <a:pt x="768607" y="3559"/>
                  <a:pt x="1279109" y="15"/>
                </a:cubicBezTo>
                <a:cubicBezTo>
                  <a:pt x="1789611" y="-3529"/>
                  <a:pt x="3065796" y="585077"/>
                  <a:pt x="3065796" y="1464180"/>
                </a:cubicBezTo>
                <a:cubicBezTo>
                  <a:pt x="3065796" y="2343283"/>
                  <a:pt x="2129853" y="2882273"/>
                  <a:pt x="1619351" y="2885817"/>
                </a:cubicBezTo>
                <a:cubicBezTo>
                  <a:pt x="1108849" y="2889361"/>
                  <a:pt x="59492" y="1966413"/>
                  <a:pt x="2785" y="1485446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  <a:alpha val="50000"/>
            </a:schemeClr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" name="Retângulo 4">
            <a:extLst>
              <a:ext uri="{FF2B5EF4-FFF2-40B4-BE49-F238E27FC236}">
                <a16:creationId xmlns:a16="http://schemas.microsoft.com/office/drawing/2014/main" xmlns="" id="{901D3E03-CBAC-4FEC-BE52-3DC0665F6FDC}"/>
              </a:ext>
            </a:extLst>
          </p:cNvPr>
          <p:cNvSpPr/>
          <p:nvPr/>
        </p:nvSpPr>
        <p:spPr>
          <a:xfrm>
            <a:off x="10505350" y="12621549"/>
            <a:ext cx="11742785" cy="66625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7" name="Conector reto 6">
            <a:extLst>
              <a:ext uri="{FF2B5EF4-FFF2-40B4-BE49-F238E27FC236}">
                <a16:creationId xmlns:a16="http://schemas.microsoft.com/office/drawing/2014/main" xmlns="" id="{6A86C0E7-E169-4F16-A6BD-113F5E8C9456}"/>
              </a:ext>
            </a:extLst>
          </p:cNvPr>
          <p:cNvCxnSpPr>
            <a:cxnSpLocks/>
          </p:cNvCxnSpPr>
          <p:nvPr/>
        </p:nvCxnSpPr>
        <p:spPr>
          <a:xfrm>
            <a:off x="3811426" y="1360759"/>
            <a:ext cx="0" cy="2709223"/>
          </a:xfrm>
          <a:prstGeom prst="line">
            <a:avLst/>
          </a:prstGeom>
          <a:noFill/>
          <a:ln w="63500" cap="flat">
            <a:solidFill>
              <a:schemeClr val="bg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8" name="CaixaDeTexto 7">
            <a:extLst>
              <a:ext uri="{FF2B5EF4-FFF2-40B4-BE49-F238E27FC236}">
                <a16:creationId xmlns:a16="http://schemas.microsoft.com/office/drawing/2014/main" xmlns="" id="{477E6566-738D-4C9B-84FD-10FE170142EC}"/>
              </a:ext>
            </a:extLst>
          </p:cNvPr>
          <p:cNvSpPr txBox="1"/>
          <p:nvPr/>
        </p:nvSpPr>
        <p:spPr>
          <a:xfrm>
            <a:off x="4022310" y="1360759"/>
            <a:ext cx="5379505" cy="3046986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6000" b="1">
                <a:solidFill>
                  <a:schemeClr val="bg1"/>
                </a:solidFill>
              </a:rPr>
              <a:t>Expansão do Mercado Livre</a:t>
            </a:r>
          </a:p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6600" i="1">
                <a:solidFill>
                  <a:schemeClr val="accent1">
                    <a:lumMod val="40000"/>
                    <a:lumOff val="60000"/>
                  </a:schemeClr>
                </a:solidFill>
              </a:rPr>
              <a:t>37,8%</a:t>
            </a:r>
            <a:endParaRPr kumimoji="0" lang="pt-BR" sz="6600" i="1" u="none" strike="noStrike" cap="none" spc="0" normalizeH="0" baseline="0">
              <a:ln>
                <a:noFill/>
              </a:ln>
              <a:solidFill>
                <a:schemeClr val="accent1">
                  <a:lumMod val="40000"/>
                  <a:lumOff val="60000"/>
                </a:schemeClr>
              </a:solidFill>
              <a:effectLst/>
              <a:uFillTx/>
              <a:sym typeface="Calibri"/>
            </a:endParaRPr>
          </a:p>
        </p:txBody>
      </p:sp>
      <p:sp>
        <p:nvSpPr>
          <p:cNvPr id="10" name="Elipse 3">
            <a:extLst>
              <a:ext uri="{FF2B5EF4-FFF2-40B4-BE49-F238E27FC236}">
                <a16:creationId xmlns:a16="http://schemas.microsoft.com/office/drawing/2014/main" xmlns="" id="{3807644B-77CA-4DEE-9C72-3157C37BD36F}"/>
              </a:ext>
            </a:extLst>
          </p:cNvPr>
          <p:cNvSpPr/>
          <p:nvPr/>
        </p:nvSpPr>
        <p:spPr>
          <a:xfrm>
            <a:off x="2311535" y="1618077"/>
            <a:ext cx="1407557" cy="1292661"/>
          </a:xfrm>
          <a:custGeom>
            <a:avLst/>
            <a:gdLst>
              <a:gd name="connsiteX0" fmla="*/ 0 w 3233132"/>
              <a:gd name="connsiteY0" fmla="*/ 1591757 h 3183514"/>
              <a:gd name="connsiteX1" fmla="*/ 1616566 w 3233132"/>
              <a:gd name="connsiteY1" fmla="*/ 0 h 3183514"/>
              <a:gd name="connsiteX2" fmla="*/ 3233132 w 3233132"/>
              <a:gd name="connsiteY2" fmla="*/ 1591757 h 3183514"/>
              <a:gd name="connsiteX3" fmla="*/ 1616566 w 3233132"/>
              <a:gd name="connsiteY3" fmla="*/ 3183514 h 3183514"/>
              <a:gd name="connsiteX4" fmla="*/ 0 w 3233132"/>
              <a:gd name="connsiteY4" fmla="*/ 1591757 h 3183514"/>
              <a:gd name="connsiteX0" fmla="*/ 4861 w 3237993"/>
              <a:gd name="connsiteY0" fmla="*/ 1485431 h 3077188"/>
              <a:gd name="connsiteX1" fmla="*/ 1281185 w 3237993"/>
              <a:gd name="connsiteY1" fmla="*/ 0 h 3077188"/>
              <a:gd name="connsiteX2" fmla="*/ 3237993 w 3237993"/>
              <a:gd name="connsiteY2" fmla="*/ 1485431 h 3077188"/>
              <a:gd name="connsiteX3" fmla="*/ 1621427 w 3237993"/>
              <a:gd name="connsiteY3" fmla="*/ 3077188 h 3077188"/>
              <a:gd name="connsiteX4" fmla="*/ 4861 w 3237993"/>
              <a:gd name="connsiteY4" fmla="*/ 1485431 h 3077188"/>
              <a:gd name="connsiteX0" fmla="*/ 4861 w 3237993"/>
              <a:gd name="connsiteY0" fmla="*/ 1485431 h 2885802"/>
              <a:gd name="connsiteX1" fmla="*/ 1281185 w 3237993"/>
              <a:gd name="connsiteY1" fmla="*/ 0 h 2885802"/>
              <a:gd name="connsiteX2" fmla="*/ 3237993 w 3237993"/>
              <a:gd name="connsiteY2" fmla="*/ 1485431 h 2885802"/>
              <a:gd name="connsiteX3" fmla="*/ 1621427 w 3237993"/>
              <a:gd name="connsiteY3" fmla="*/ 2885802 h 2885802"/>
              <a:gd name="connsiteX4" fmla="*/ 4861 w 3237993"/>
              <a:gd name="connsiteY4" fmla="*/ 1485431 h 2885802"/>
              <a:gd name="connsiteX0" fmla="*/ 2785 w 3065796"/>
              <a:gd name="connsiteY0" fmla="*/ 1485446 h 2885827"/>
              <a:gd name="connsiteX1" fmla="*/ 1279109 w 3065796"/>
              <a:gd name="connsiteY1" fmla="*/ 15 h 2885827"/>
              <a:gd name="connsiteX2" fmla="*/ 3065796 w 3065796"/>
              <a:gd name="connsiteY2" fmla="*/ 1464180 h 2885827"/>
              <a:gd name="connsiteX3" fmla="*/ 1619351 w 3065796"/>
              <a:gd name="connsiteY3" fmla="*/ 2885817 h 2885827"/>
              <a:gd name="connsiteX4" fmla="*/ 2785 w 3065796"/>
              <a:gd name="connsiteY4" fmla="*/ 1485446 h 28858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65796" h="2885827">
                <a:moveTo>
                  <a:pt x="2785" y="1485446"/>
                </a:moveTo>
                <a:cubicBezTo>
                  <a:pt x="-53922" y="1004479"/>
                  <a:pt x="768607" y="3559"/>
                  <a:pt x="1279109" y="15"/>
                </a:cubicBezTo>
                <a:cubicBezTo>
                  <a:pt x="1789611" y="-3529"/>
                  <a:pt x="3065796" y="585077"/>
                  <a:pt x="3065796" y="1464180"/>
                </a:cubicBezTo>
                <a:cubicBezTo>
                  <a:pt x="3065796" y="2343283"/>
                  <a:pt x="2129853" y="2882273"/>
                  <a:pt x="1619351" y="2885817"/>
                </a:cubicBezTo>
                <a:cubicBezTo>
                  <a:pt x="1108849" y="2889361"/>
                  <a:pt x="59492" y="1966413"/>
                  <a:pt x="2785" y="1485446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  <a:alpha val="50000"/>
            </a:schemeClr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15" name="Conector reto 14">
            <a:extLst>
              <a:ext uri="{FF2B5EF4-FFF2-40B4-BE49-F238E27FC236}">
                <a16:creationId xmlns:a16="http://schemas.microsoft.com/office/drawing/2014/main" xmlns="" id="{63242E9A-D44B-4CA8-8874-AC96DCCB122E}"/>
              </a:ext>
            </a:extLst>
          </p:cNvPr>
          <p:cNvCxnSpPr>
            <a:cxnSpLocks/>
          </p:cNvCxnSpPr>
          <p:nvPr/>
        </p:nvCxnSpPr>
        <p:spPr>
          <a:xfrm>
            <a:off x="12124263" y="1360759"/>
            <a:ext cx="0" cy="2709223"/>
          </a:xfrm>
          <a:prstGeom prst="line">
            <a:avLst/>
          </a:prstGeom>
          <a:noFill/>
          <a:ln w="63500" cap="flat">
            <a:solidFill>
              <a:schemeClr val="bg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6" name="CaixaDeTexto 15">
            <a:extLst>
              <a:ext uri="{FF2B5EF4-FFF2-40B4-BE49-F238E27FC236}">
                <a16:creationId xmlns:a16="http://schemas.microsoft.com/office/drawing/2014/main" xmlns="" id="{516C924C-E3EB-47FE-AA13-8D42EFB8A3E1}"/>
              </a:ext>
            </a:extLst>
          </p:cNvPr>
          <p:cNvSpPr txBox="1"/>
          <p:nvPr/>
        </p:nvSpPr>
        <p:spPr>
          <a:xfrm>
            <a:off x="12335147" y="1360759"/>
            <a:ext cx="3830707" cy="2769987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5400" b="1">
                <a:solidFill>
                  <a:schemeClr val="bg1"/>
                </a:solidFill>
              </a:rPr>
              <a:t>Formação de Preços</a:t>
            </a:r>
          </a:p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6000" i="1">
                <a:solidFill>
                  <a:schemeClr val="accent2">
                    <a:lumMod val="40000"/>
                    <a:lumOff val="60000"/>
                  </a:schemeClr>
                </a:solidFill>
              </a:rPr>
              <a:t>27,9%</a:t>
            </a:r>
            <a:endParaRPr kumimoji="0" lang="pt-BR" sz="6000" i="1" u="none" strike="noStrike" cap="none" spc="0" normalizeH="0" baseline="0">
              <a:ln>
                <a:noFill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  <a:uFillTx/>
              <a:sym typeface="Calibri"/>
            </a:endParaRPr>
          </a:p>
        </p:txBody>
      </p:sp>
      <p:cxnSp>
        <p:nvCxnSpPr>
          <p:cNvPr id="19" name="Conector reto 18">
            <a:extLst>
              <a:ext uri="{FF2B5EF4-FFF2-40B4-BE49-F238E27FC236}">
                <a16:creationId xmlns:a16="http://schemas.microsoft.com/office/drawing/2014/main" xmlns="" id="{AB10DC8A-8D55-463A-A646-57FB7B5D0CD2}"/>
              </a:ext>
            </a:extLst>
          </p:cNvPr>
          <p:cNvCxnSpPr>
            <a:cxnSpLocks/>
          </p:cNvCxnSpPr>
          <p:nvPr/>
        </p:nvCxnSpPr>
        <p:spPr>
          <a:xfrm>
            <a:off x="18009561" y="1360759"/>
            <a:ext cx="0" cy="2709223"/>
          </a:xfrm>
          <a:prstGeom prst="line">
            <a:avLst/>
          </a:prstGeom>
          <a:noFill/>
          <a:ln w="63500" cap="flat">
            <a:solidFill>
              <a:schemeClr val="bg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0" name="CaixaDeTexto 19">
            <a:extLst>
              <a:ext uri="{FF2B5EF4-FFF2-40B4-BE49-F238E27FC236}">
                <a16:creationId xmlns:a16="http://schemas.microsoft.com/office/drawing/2014/main" xmlns="" id="{F6FD6F3D-A8C5-46F3-9436-F1057308DEBE}"/>
              </a:ext>
            </a:extLst>
          </p:cNvPr>
          <p:cNvSpPr txBox="1"/>
          <p:nvPr/>
        </p:nvSpPr>
        <p:spPr>
          <a:xfrm>
            <a:off x="18220445" y="1360759"/>
            <a:ext cx="3888975" cy="2769987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5400" b="1">
                <a:solidFill>
                  <a:schemeClr val="bg1"/>
                </a:solidFill>
              </a:rPr>
              <a:t>Segurança de Mercado</a:t>
            </a:r>
          </a:p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6000" i="1">
                <a:solidFill>
                  <a:schemeClr val="accent6">
                    <a:lumMod val="20000"/>
                    <a:lumOff val="80000"/>
                  </a:schemeClr>
                </a:solidFill>
              </a:rPr>
              <a:t>26,9%</a:t>
            </a:r>
            <a:endParaRPr kumimoji="0" lang="pt-BR" sz="6000" i="1" u="none" strike="noStrike" cap="none" spc="0" normalizeH="0" baseline="0">
              <a:ln>
                <a:noFill/>
              </a:ln>
              <a:solidFill>
                <a:schemeClr val="accent6">
                  <a:lumMod val="20000"/>
                  <a:lumOff val="80000"/>
                </a:schemeClr>
              </a:solidFill>
              <a:effectLst/>
              <a:uFillTx/>
              <a:sym typeface="Calibri"/>
            </a:endParaRPr>
          </a:p>
        </p:txBody>
      </p:sp>
      <p:cxnSp>
        <p:nvCxnSpPr>
          <p:cNvPr id="27" name="Conector reto 26">
            <a:extLst>
              <a:ext uri="{FF2B5EF4-FFF2-40B4-BE49-F238E27FC236}">
                <a16:creationId xmlns:a16="http://schemas.microsoft.com/office/drawing/2014/main" xmlns="" id="{74BF9421-6BAB-4A0F-88BD-81C6A817BDE6}"/>
              </a:ext>
            </a:extLst>
          </p:cNvPr>
          <p:cNvCxnSpPr>
            <a:cxnSpLocks/>
          </p:cNvCxnSpPr>
          <p:nvPr/>
        </p:nvCxnSpPr>
        <p:spPr>
          <a:xfrm>
            <a:off x="11329993" y="12668475"/>
            <a:ext cx="0" cy="310276"/>
          </a:xfrm>
          <a:prstGeom prst="line">
            <a:avLst/>
          </a:prstGeom>
          <a:noFill/>
          <a:ln w="63500" cap="flat">
            <a:solidFill>
              <a:schemeClr val="bg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0" name="Elipse 3">
            <a:extLst>
              <a:ext uri="{FF2B5EF4-FFF2-40B4-BE49-F238E27FC236}">
                <a16:creationId xmlns:a16="http://schemas.microsoft.com/office/drawing/2014/main" xmlns="" id="{2E81FD40-1CA2-4B07-9B59-896E4E18E336}"/>
              </a:ext>
            </a:extLst>
          </p:cNvPr>
          <p:cNvSpPr/>
          <p:nvPr/>
        </p:nvSpPr>
        <p:spPr>
          <a:xfrm>
            <a:off x="10628341" y="12623212"/>
            <a:ext cx="577709" cy="597565"/>
          </a:xfrm>
          <a:custGeom>
            <a:avLst/>
            <a:gdLst>
              <a:gd name="connsiteX0" fmla="*/ 0 w 3233132"/>
              <a:gd name="connsiteY0" fmla="*/ 1591757 h 3183514"/>
              <a:gd name="connsiteX1" fmla="*/ 1616566 w 3233132"/>
              <a:gd name="connsiteY1" fmla="*/ 0 h 3183514"/>
              <a:gd name="connsiteX2" fmla="*/ 3233132 w 3233132"/>
              <a:gd name="connsiteY2" fmla="*/ 1591757 h 3183514"/>
              <a:gd name="connsiteX3" fmla="*/ 1616566 w 3233132"/>
              <a:gd name="connsiteY3" fmla="*/ 3183514 h 3183514"/>
              <a:gd name="connsiteX4" fmla="*/ 0 w 3233132"/>
              <a:gd name="connsiteY4" fmla="*/ 1591757 h 3183514"/>
              <a:gd name="connsiteX0" fmla="*/ 4861 w 3237993"/>
              <a:gd name="connsiteY0" fmla="*/ 1485431 h 3077188"/>
              <a:gd name="connsiteX1" fmla="*/ 1281185 w 3237993"/>
              <a:gd name="connsiteY1" fmla="*/ 0 h 3077188"/>
              <a:gd name="connsiteX2" fmla="*/ 3237993 w 3237993"/>
              <a:gd name="connsiteY2" fmla="*/ 1485431 h 3077188"/>
              <a:gd name="connsiteX3" fmla="*/ 1621427 w 3237993"/>
              <a:gd name="connsiteY3" fmla="*/ 3077188 h 3077188"/>
              <a:gd name="connsiteX4" fmla="*/ 4861 w 3237993"/>
              <a:gd name="connsiteY4" fmla="*/ 1485431 h 3077188"/>
              <a:gd name="connsiteX0" fmla="*/ 4861 w 3237993"/>
              <a:gd name="connsiteY0" fmla="*/ 1485431 h 2885802"/>
              <a:gd name="connsiteX1" fmla="*/ 1281185 w 3237993"/>
              <a:gd name="connsiteY1" fmla="*/ 0 h 2885802"/>
              <a:gd name="connsiteX2" fmla="*/ 3237993 w 3237993"/>
              <a:gd name="connsiteY2" fmla="*/ 1485431 h 2885802"/>
              <a:gd name="connsiteX3" fmla="*/ 1621427 w 3237993"/>
              <a:gd name="connsiteY3" fmla="*/ 2885802 h 2885802"/>
              <a:gd name="connsiteX4" fmla="*/ 4861 w 3237993"/>
              <a:gd name="connsiteY4" fmla="*/ 1485431 h 2885802"/>
              <a:gd name="connsiteX0" fmla="*/ 2785 w 3065796"/>
              <a:gd name="connsiteY0" fmla="*/ 1485446 h 2885827"/>
              <a:gd name="connsiteX1" fmla="*/ 1279109 w 3065796"/>
              <a:gd name="connsiteY1" fmla="*/ 15 h 2885827"/>
              <a:gd name="connsiteX2" fmla="*/ 3065796 w 3065796"/>
              <a:gd name="connsiteY2" fmla="*/ 1464180 h 2885827"/>
              <a:gd name="connsiteX3" fmla="*/ 1619351 w 3065796"/>
              <a:gd name="connsiteY3" fmla="*/ 2885817 h 2885827"/>
              <a:gd name="connsiteX4" fmla="*/ 2785 w 3065796"/>
              <a:gd name="connsiteY4" fmla="*/ 1485446 h 28858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65796" h="2885827">
                <a:moveTo>
                  <a:pt x="2785" y="1485446"/>
                </a:moveTo>
                <a:cubicBezTo>
                  <a:pt x="-53922" y="1004479"/>
                  <a:pt x="768607" y="3559"/>
                  <a:pt x="1279109" y="15"/>
                </a:cubicBezTo>
                <a:cubicBezTo>
                  <a:pt x="1789611" y="-3529"/>
                  <a:pt x="3065796" y="585077"/>
                  <a:pt x="3065796" y="1464180"/>
                </a:cubicBezTo>
                <a:cubicBezTo>
                  <a:pt x="3065796" y="2343283"/>
                  <a:pt x="2129853" y="2882273"/>
                  <a:pt x="1619351" y="2885817"/>
                </a:cubicBezTo>
                <a:cubicBezTo>
                  <a:pt x="1108849" y="2889361"/>
                  <a:pt x="59492" y="1966413"/>
                  <a:pt x="2785" y="1485446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  <a:alpha val="50000"/>
            </a:schemeClr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" name="CaixaDeTexto 27">
            <a:extLst>
              <a:ext uri="{FF2B5EF4-FFF2-40B4-BE49-F238E27FC236}">
                <a16:creationId xmlns:a16="http://schemas.microsoft.com/office/drawing/2014/main" xmlns="" id="{1B253C7C-BF9F-4F0B-B3B0-9E4735A5BD56}"/>
              </a:ext>
            </a:extLst>
          </p:cNvPr>
          <p:cNvSpPr txBox="1"/>
          <p:nvPr/>
        </p:nvSpPr>
        <p:spPr>
          <a:xfrm>
            <a:off x="11539906" y="12464359"/>
            <a:ext cx="12079013" cy="923328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2400" b="1">
                <a:solidFill>
                  <a:schemeClr val="bg1"/>
                </a:solidFill>
              </a:rPr>
              <a:t>Desenvolvimento de Outros Mercados</a:t>
            </a:r>
          </a:p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2400" i="1">
                <a:solidFill>
                  <a:schemeClr val="accent6">
                    <a:lumMod val="20000"/>
                    <a:lumOff val="80000"/>
                  </a:schemeClr>
                </a:solidFill>
              </a:rPr>
              <a:t>7,4%</a:t>
            </a:r>
            <a:endParaRPr kumimoji="0" lang="pt-BR" sz="2400" i="1" u="none" strike="noStrike" cap="none" spc="0" normalizeH="0" baseline="0">
              <a:ln>
                <a:noFill/>
              </a:ln>
              <a:solidFill>
                <a:schemeClr val="accent6">
                  <a:lumMod val="20000"/>
                  <a:lumOff val="80000"/>
                </a:schemeClr>
              </a:solidFill>
              <a:effectLst/>
              <a:uFillTx/>
              <a:sym typeface="Calibri"/>
            </a:endParaRPr>
          </a:p>
        </p:txBody>
      </p:sp>
      <p:pic>
        <p:nvPicPr>
          <p:cNvPr id="9" name="Imagem 8">
            <a:extLst>
              <a:ext uri="{FF2B5EF4-FFF2-40B4-BE49-F238E27FC236}">
                <a16:creationId xmlns:a16="http://schemas.microsoft.com/office/drawing/2014/main" xmlns="" id="{8B6238C2-698F-47CC-8800-A9E4BE771092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9644" y="1510964"/>
            <a:ext cx="1399774" cy="1399774"/>
          </a:xfrm>
          <a:prstGeom prst="rect">
            <a:avLst/>
          </a:prstGeom>
        </p:spPr>
      </p:pic>
      <p:pic>
        <p:nvPicPr>
          <p:cNvPr id="25" name="Imagem 24">
            <a:extLst>
              <a:ext uri="{FF2B5EF4-FFF2-40B4-BE49-F238E27FC236}">
                <a16:creationId xmlns:a16="http://schemas.microsoft.com/office/drawing/2014/main" xmlns="" id="{D341F860-8FE7-4B41-AB8F-A1C3A31B85D1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81699" y="1662661"/>
            <a:ext cx="1211049" cy="1211049"/>
          </a:xfrm>
          <a:prstGeom prst="rect">
            <a:avLst/>
          </a:prstGeom>
        </p:spPr>
      </p:pic>
      <p:pic>
        <p:nvPicPr>
          <p:cNvPr id="23" name="Imagem 22">
            <a:extLst>
              <a:ext uri="{FF2B5EF4-FFF2-40B4-BE49-F238E27FC236}">
                <a16:creationId xmlns:a16="http://schemas.microsoft.com/office/drawing/2014/main" xmlns="" id="{70994B20-38CD-423F-99FC-E535567D2A2B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62442" y="1553075"/>
            <a:ext cx="1422663" cy="1422663"/>
          </a:xfrm>
          <a:prstGeom prst="rect">
            <a:avLst/>
          </a:prstGeom>
        </p:spPr>
      </p:pic>
      <p:pic>
        <p:nvPicPr>
          <p:cNvPr id="26" name="Imagem 25">
            <a:extLst>
              <a:ext uri="{FF2B5EF4-FFF2-40B4-BE49-F238E27FC236}">
                <a16:creationId xmlns:a16="http://schemas.microsoft.com/office/drawing/2014/main" xmlns="" id="{49B8103C-E441-4F22-A995-E99D70586729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23638" y="12500691"/>
            <a:ext cx="787113" cy="787113"/>
          </a:xfrm>
          <a:prstGeom prst="rect">
            <a:avLst/>
          </a:prstGeom>
        </p:spPr>
      </p:pic>
      <p:sp>
        <p:nvSpPr>
          <p:cNvPr id="24" name="Título 1">
            <a:extLst>
              <a:ext uri="{FF2B5EF4-FFF2-40B4-BE49-F238E27FC236}">
                <a16:creationId xmlns:a16="http://schemas.microsoft.com/office/drawing/2014/main" xmlns="" id="{6D714A12-E139-4CEB-86D8-220787FE4583}"/>
              </a:ext>
            </a:extLst>
          </p:cNvPr>
          <p:cNvSpPr txBox="1">
            <a:spLocks/>
          </p:cNvSpPr>
          <p:nvPr/>
        </p:nvSpPr>
        <p:spPr>
          <a:xfrm>
            <a:off x="550492" y="372411"/>
            <a:ext cx="24384000" cy="1316792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4800" b="1">
                <a:solidFill>
                  <a:srgbClr val="F44F1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Bandeiras ABRACEEL 2021 - 2024</a:t>
            </a:r>
          </a:p>
        </p:txBody>
      </p:sp>
    </p:spTree>
    <p:extLst>
      <p:ext uri="{BB962C8B-B14F-4D97-AF65-F5344CB8AC3E}">
        <p14:creationId xmlns:p14="http://schemas.microsoft.com/office/powerpoint/2010/main" val="32965278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3" grpId="0" animBg="1"/>
      <p:bldP spid="6" grpId="0" animBg="1"/>
      <p:bldP spid="18" grpId="0" animBg="1"/>
      <p:bldP spid="22" grpId="0" animBg="1"/>
      <p:bldP spid="5" grpId="0" animBg="1"/>
      <p:bldP spid="8" grpId="0"/>
      <p:bldP spid="10" grpId="0" animBg="1"/>
      <p:bldP spid="16" grpId="0"/>
      <p:bldP spid="20" grpId="0"/>
      <p:bldP spid="30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ela 1">
            <a:extLst>
              <a:ext uri="{FF2B5EF4-FFF2-40B4-BE49-F238E27FC236}">
                <a16:creationId xmlns:a16="http://schemas.microsoft.com/office/drawing/2014/main" xmlns="" id="{743BD065-6ADC-4A0A-BDBC-199464D71BB2}"/>
              </a:ext>
            </a:extLst>
          </p:cNvPr>
          <p:cNvGraphicFramePr>
            <a:graphicFrameLocks noGrp="1"/>
          </p:cNvGraphicFramePr>
          <p:nvPr/>
        </p:nvGraphicFramePr>
        <p:xfrm>
          <a:off x="273533" y="1722270"/>
          <a:ext cx="23805650" cy="11909204"/>
        </p:xfrm>
        <a:graphic>
          <a:graphicData uri="http://schemas.openxmlformats.org/drawingml/2006/table">
            <a:tbl>
              <a:tblPr/>
              <a:tblGrid>
                <a:gridCol w="2585078">
                  <a:extLst>
                    <a:ext uri="{9D8B030D-6E8A-4147-A177-3AD203B41FA5}">
                      <a16:colId xmlns:a16="http://schemas.microsoft.com/office/drawing/2014/main" xmlns="" val="4256904929"/>
                    </a:ext>
                  </a:extLst>
                </a:gridCol>
                <a:gridCol w="5291090">
                  <a:extLst>
                    <a:ext uri="{9D8B030D-6E8A-4147-A177-3AD203B41FA5}">
                      <a16:colId xmlns:a16="http://schemas.microsoft.com/office/drawing/2014/main" xmlns="" val="2105423055"/>
                    </a:ext>
                  </a:extLst>
                </a:gridCol>
                <a:gridCol w="1349406">
                  <a:extLst>
                    <a:ext uri="{9D8B030D-6E8A-4147-A177-3AD203B41FA5}">
                      <a16:colId xmlns:a16="http://schemas.microsoft.com/office/drawing/2014/main" xmlns="" val="2895076374"/>
                    </a:ext>
                  </a:extLst>
                </a:gridCol>
                <a:gridCol w="14580076">
                  <a:extLst>
                    <a:ext uri="{9D8B030D-6E8A-4147-A177-3AD203B41FA5}">
                      <a16:colId xmlns:a16="http://schemas.microsoft.com/office/drawing/2014/main" xmlns="" val="1776167808"/>
                    </a:ext>
                  </a:extLst>
                </a:gridCol>
              </a:tblGrid>
              <a:tr h="623358">
                <a:tc gridSpan="4">
                  <a:txBody>
                    <a:bodyPr/>
                    <a:lstStyle/>
                    <a:p>
                      <a:pPr algn="ctr" fontAlgn="b"/>
                      <a:r>
                        <a:rPr lang="pt-BR" sz="2800" b="1" i="0" u="none" strike="noStrike">
                          <a:solidFill>
                            <a:srgbClr val="FFFFFF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BANDEIRA 1: EXPANSÃO DO MERCADO LIVRE (37,8%)</a:t>
                      </a:r>
                    </a:p>
                  </a:txBody>
                  <a:tcPr marL="8558" marR="8558" marT="85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>
                    <a:lnL w="12700" cmpd="sng">
                      <a:noFill/>
                      <a:prstDash val="soli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30817408"/>
                  </a:ext>
                </a:extLst>
              </a:tr>
              <a:tr h="514706"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200" b="1" i="0" u="none" strike="noStrike">
                          <a:solidFill>
                            <a:srgbClr val="FFFFFF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Metas</a:t>
                      </a:r>
                    </a:p>
                  </a:txBody>
                  <a:tcPr marL="8558" marR="8558" marT="85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200" b="1" i="0" u="none" strike="noStrike" kern="1200">
                          <a:solidFill>
                            <a:srgbClr val="FFFFFF"/>
                          </a:solidFill>
                          <a:effectLst/>
                          <a:latin typeface="Poppins" pitchFamily="50" charset="0"/>
                          <a:ea typeface="+mn-ea"/>
                          <a:cs typeface="Poppins" pitchFamily="50" charset="0"/>
                        </a:rPr>
                        <a:t>Atividades  </a:t>
                      </a:r>
                    </a:p>
                  </a:txBody>
                  <a:tcPr marL="8558" marR="8558" marT="85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200" b="1" i="0" u="none" strike="noStrike">
                          <a:solidFill>
                            <a:srgbClr val="FFFFFF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Peso</a:t>
                      </a:r>
                    </a:p>
                  </a:txBody>
                  <a:tcPr marL="8558" marR="8558" marT="85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200" b="1" i="0" u="none" strike="noStrike">
                          <a:solidFill>
                            <a:srgbClr val="FFFFFF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Principais</a:t>
                      </a:r>
                      <a:r>
                        <a:rPr lang="pt-BR" sz="2200" b="1" i="0" u="none" strike="noStrike" baseline="0">
                          <a:solidFill>
                            <a:srgbClr val="FFFFFF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 resultados</a:t>
                      </a:r>
                      <a:endParaRPr lang="pt-BR" sz="2200" b="1" i="0" u="none" strike="noStrike">
                        <a:solidFill>
                          <a:srgbClr val="FFFFFF"/>
                        </a:solidFill>
                        <a:effectLst/>
                        <a:latin typeface="Poppins" pitchFamily="50" charset="0"/>
                        <a:cs typeface="Poppins" pitchFamily="50" charset="0"/>
                      </a:endParaRPr>
                    </a:p>
                  </a:txBody>
                  <a:tcPr marL="8558" marR="8558" marT="85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235429476"/>
                  </a:ext>
                </a:extLst>
              </a:tr>
              <a:tr h="1921504">
                <a:tc rowSpan="4">
                  <a:txBody>
                    <a:bodyPr/>
                    <a:lstStyle/>
                    <a:p>
                      <a:pPr algn="ctr" rtl="0" fontAlgn="ctr"/>
                      <a:r>
                        <a:rPr lang="pt-BR" sz="2200" b="0" i="0" u="none" strike="noStrike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Antecipar o cronograma de abertura do mercado livre</a:t>
                      </a:r>
                    </a:p>
                  </a:txBody>
                  <a:tcPr marL="8558" marR="8558" marT="8558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2200" b="0" i="0" u="none" strike="noStrike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Acelerar a Reforma do Setor Elétrico (PLS 232, PL 1917, MP 998, GT Modernização), atuando nos principais gargalos para avanços da matéria</a:t>
                      </a:r>
                    </a:p>
                  </a:txBody>
                  <a:tcPr marL="8558" marR="8558" marT="8558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 rtl="0" font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pt-BR" sz="2200" b="0" i="0" u="none" strike="noStrike" kern="1200" cap="none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ea typeface="+mn-ea"/>
                          <a:cs typeface="Poppins" pitchFamily="50" charset="0"/>
                          <a:sym typeface="Arial"/>
                        </a:rPr>
                        <a:t>18,9%</a:t>
                      </a:r>
                    </a:p>
                  </a:txBody>
                  <a:tcPr marL="8558" marR="8558" marT="8558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2200" b="1" i="0" u="none" strike="noStrike" cap="none" baseline="0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ea typeface="+mn-ea"/>
                          <a:cs typeface="Poppins" pitchFamily="50" charset="0"/>
                          <a:sym typeface="Arial"/>
                        </a:rPr>
                        <a:t>Senado aprova emenda de abertura na MP </a:t>
                      </a:r>
                      <a:r>
                        <a:rPr lang="pt-BR" sz="2200" b="1" i="0" u="none" strike="noStrike" cap="none" baseline="0" err="1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ea typeface="+mn-ea"/>
                          <a:cs typeface="Poppins" pitchFamily="50" charset="0"/>
                          <a:sym typeface="Arial"/>
                        </a:rPr>
                        <a:t>Eletrobras</a:t>
                      </a:r>
                      <a:r>
                        <a:rPr lang="pt-BR" sz="2200" b="1" i="0" u="none" strike="noStrike" cap="none" baseline="0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ea typeface="+mn-ea"/>
                          <a:cs typeface="Poppins" pitchFamily="50" charset="0"/>
                          <a:sym typeface="Arial"/>
                        </a:rPr>
                        <a:t> </a:t>
                      </a:r>
                      <a:r>
                        <a:rPr lang="pt-BR" sz="2200" b="0" i="0" u="none" strike="noStrike" cap="none" baseline="0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ea typeface="+mn-ea"/>
                          <a:cs typeface="Poppins" pitchFamily="50" charset="0"/>
                          <a:sym typeface="Arial"/>
                        </a:rPr>
                        <a:t>com cronograma alinhado ao estudo </a:t>
                      </a:r>
                      <a:r>
                        <a:rPr lang="pt-BR" sz="2200" b="0" i="0" u="none" strike="noStrike" cap="none" baseline="0" err="1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ea typeface="+mn-ea"/>
                          <a:cs typeface="Poppins" pitchFamily="50" charset="0"/>
                          <a:sym typeface="Arial"/>
                        </a:rPr>
                        <a:t>Abraceel</a:t>
                      </a:r>
                      <a:r>
                        <a:rPr lang="pt-BR" sz="2200" b="0" i="0" u="none" strike="noStrike" cap="none" baseline="0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ea typeface="+mn-ea"/>
                          <a:cs typeface="Poppins" pitchFamily="50" charset="0"/>
                          <a:sym typeface="Arial"/>
                        </a:rPr>
                        <a:t>; </a:t>
                      </a:r>
                    </a:p>
                    <a:p>
                      <a:pPr marL="0" marR="0" lvl="0" indent="0" algn="just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2200" b="0" i="0" u="none" strike="noStrike" cap="none" baseline="0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ea typeface="+mn-ea"/>
                          <a:cs typeface="Poppins" pitchFamily="50" charset="0"/>
                          <a:sym typeface="Arial"/>
                        </a:rPr>
                        <a:t>PLS 232 aprovado no Senado e encaminhado à CD (PL 414); PL 1917 em discussão na Comissão Especial; </a:t>
                      </a:r>
                    </a:p>
                    <a:p>
                      <a:pPr marL="0" marR="0" lvl="0" indent="0" algn="just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2200" b="0" i="0" u="none" strike="noStrike" cap="none" baseline="0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ea typeface="+mn-ea"/>
                          <a:cs typeface="Poppins" pitchFamily="50" charset="0"/>
                          <a:sym typeface="Arial"/>
                        </a:rPr>
                        <a:t>Regulamentada reserva de capacidade, com possibilidade do ACL comprar energia no leilão; </a:t>
                      </a:r>
                    </a:p>
                    <a:p>
                      <a:pPr marL="0" marR="0" lvl="0" indent="0" algn="just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2200" b="0" i="0" u="none" strike="noStrike" cap="none" baseline="0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ea typeface="+mn-ea"/>
                          <a:cs typeface="Poppins" pitchFamily="50" charset="0"/>
                          <a:sym typeface="Arial"/>
                        </a:rPr>
                        <a:t>Redução para 5 MW na RVD, com relevante atuação do agregador; Proposta </a:t>
                      </a:r>
                      <a:r>
                        <a:rPr lang="pt-BR" sz="2200" b="0" i="0" u="none" strike="noStrike" cap="none" baseline="0" err="1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ea typeface="+mn-ea"/>
                          <a:cs typeface="Poppins" pitchFamily="50" charset="0"/>
                          <a:sym typeface="Arial"/>
                        </a:rPr>
                        <a:t>Abraceel</a:t>
                      </a:r>
                      <a:r>
                        <a:rPr lang="pt-BR" sz="2200" b="0" i="0" u="none" strike="noStrike" cap="none" baseline="0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ea typeface="+mn-ea"/>
                          <a:cs typeface="Poppins" pitchFamily="50" charset="0"/>
                          <a:sym typeface="Arial"/>
                        </a:rPr>
                        <a:t> na crise hídrica.</a:t>
                      </a:r>
                    </a:p>
                  </a:txBody>
                  <a:tcPr marL="8558" marR="8558" marT="8558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056288168"/>
                  </a:ext>
                </a:extLst>
              </a:tr>
              <a:tr h="1597444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2200" b="0" i="0" u="none" strike="noStrike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Atuar para que CCEE e ANEEL realizem os estudos da abertura do mercado livre conforme previsto na Portaria 465/2019</a:t>
                      </a:r>
                    </a:p>
                  </a:txBody>
                  <a:tcPr marL="8558" marR="8558" marT="8558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rtl="0" font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pt-BR" sz="1100" b="0" i="0" u="none" strike="noStrike" baseline="0">
                        <a:solidFill>
                          <a:schemeClr val="tx1"/>
                        </a:solidFill>
                        <a:effectLst/>
                        <a:latin typeface="Poppins" pitchFamily="50" charset="0"/>
                        <a:cs typeface="Poppins" pitchFamily="50" charset="0"/>
                      </a:endParaRPr>
                    </a:p>
                  </a:txBody>
                  <a:tcPr marL="4279" marR="4279" marT="4279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2200" b="0" i="0" u="none" strike="noStrike" cap="none" baseline="0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ea typeface="+mn-ea"/>
                          <a:cs typeface="Poppins" pitchFamily="50" charset="0"/>
                          <a:sym typeface="Arial"/>
                        </a:rPr>
                        <a:t>Em três sábados seguidos, Estudo Abraceel/</a:t>
                      </a:r>
                      <a:r>
                        <a:rPr lang="pt-BR" sz="2200" b="0" i="0" u="none" strike="noStrike" cap="none" baseline="0" err="1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ea typeface="+mn-ea"/>
                          <a:cs typeface="Poppins" pitchFamily="50" charset="0"/>
                          <a:sym typeface="Arial"/>
                        </a:rPr>
                        <a:t>Thymos</a:t>
                      </a:r>
                      <a:r>
                        <a:rPr lang="pt-BR" sz="2200" b="0" i="0" u="none" strike="noStrike" cap="none" baseline="0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ea typeface="+mn-ea"/>
                          <a:cs typeface="Poppins" pitchFamily="50" charset="0"/>
                          <a:sym typeface="Arial"/>
                        </a:rPr>
                        <a:t> é apresentado para instituições do governo;</a:t>
                      </a:r>
                    </a:p>
                    <a:p>
                      <a:pPr marL="0" marR="0" lvl="0" indent="0" algn="just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2200" b="1" i="0" u="none" strike="noStrike" cap="none" baseline="0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ea typeface="+mn-ea"/>
                          <a:cs typeface="Poppins" pitchFamily="50" charset="0"/>
                          <a:sym typeface="Arial"/>
                        </a:rPr>
                        <a:t>Aneel abre Tomada de Subsídios e CCEE conclui nota técnica em linha com estudo Abraceel/</a:t>
                      </a:r>
                      <a:r>
                        <a:rPr lang="pt-BR" sz="2200" b="1" i="0" u="none" strike="noStrike" cap="none" baseline="0" err="1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ea typeface="+mn-ea"/>
                          <a:cs typeface="Poppins" pitchFamily="50" charset="0"/>
                          <a:sym typeface="Arial"/>
                        </a:rPr>
                        <a:t>Thymos</a:t>
                      </a:r>
                      <a:r>
                        <a:rPr lang="pt-BR" sz="2200" b="0" i="0" u="none" strike="noStrike" cap="none" baseline="0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ea typeface="+mn-ea"/>
                          <a:cs typeface="Poppins" pitchFamily="50" charset="0"/>
                          <a:sym typeface="Arial"/>
                        </a:rPr>
                        <a:t>;</a:t>
                      </a:r>
                    </a:p>
                    <a:p>
                      <a:pPr marL="0" marR="0" lvl="0" indent="0" algn="just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2200" b="0" i="0" u="none" strike="noStrike" cap="none" baseline="0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ea typeface="+mn-ea"/>
                          <a:cs typeface="Poppins" pitchFamily="50" charset="0"/>
                          <a:sym typeface="Arial"/>
                        </a:rPr>
                        <a:t>Mapeamento das contribuições elaborado pela Abraceel mostra todos favoráveis a abertura integral;</a:t>
                      </a:r>
                    </a:p>
                  </a:txBody>
                  <a:tcPr marL="8558" marR="8558" marT="8558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999216318"/>
                  </a:ext>
                </a:extLst>
              </a:tr>
              <a:tr h="1673808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2200" b="0" i="0" u="none" strike="noStrike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Persuadir as principais instituições do Setor Elétrico da importância da abertura (MME, CCEE, ANEEL, ONS)</a:t>
                      </a:r>
                    </a:p>
                  </a:txBody>
                  <a:tcPr marL="8558" marR="8558" marT="8558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pt-BR" sz="1100" b="0" i="0" u="none" strike="noStrike" baseline="0">
                        <a:solidFill>
                          <a:schemeClr val="tx1"/>
                        </a:solidFill>
                        <a:effectLst/>
                        <a:latin typeface="Poppins" pitchFamily="50" charset="0"/>
                        <a:cs typeface="Poppins" pitchFamily="50" charset="0"/>
                      </a:endParaRPr>
                    </a:p>
                  </a:txBody>
                  <a:tcPr marL="4279" marR="4279" marT="4279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2200" b="1" i="0" u="none" strike="noStrike" cap="none" baseline="0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ea typeface="+mn-ea"/>
                          <a:cs typeface="Poppins" pitchFamily="50" charset="0"/>
                          <a:sym typeface="Arial"/>
                        </a:rPr>
                        <a:t>Estudos da Abraceel </a:t>
                      </a:r>
                      <a:r>
                        <a:rPr lang="pt-BR" sz="2200" b="0" i="0" u="none" strike="noStrike" cap="none" baseline="0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ea typeface="+mn-ea"/>
                          <a:cs typeface="Poppins" pitchFamily="50" charset="0"/>
                          <a:sym typeface="Arial"/>
                        </a:rPr>
                        <a:t>subsidiam discussões nas instituições: protagonismo do ACL na expansão da oferta, potencial de migração ao ML (com consultoria </a:t>
                      </a:r>
                      <a:r>
                        <a:rPr lang="pt-BR" sz="2200" b="0" i="0" u="none" strike="noStrike" cap="none" baseline="0" err="1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ea typeface="+mn-ea"/>
                          <a:cs typeface="Poppins" pitchFamily="50" charset="0"/>
                          <a:sym typeface="Arial"/>
                        </a:rPr>
                        <a:t>Escher</a:t>
                      </a:r>
                      <a:r>
                        <a:rPr lang="pt-BR" sz="2200" b="0" i="0" u="none" strike="noStrike" cap="none" baseline="0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ea typeface="+mn-ea"/>
                          <a:cs typeface="Poppins" pitchFamily="50" charset="0"/>
                          <a:sym typeface="Arial"/>
                        </a:rPr>
                        <a:t>) e contratos legados</a:t>
                      </a:r>
                    </a:p>
                    <a:p>
                      <a:pPr marL="0" marR="0" lvl="0" indent="0" algn="just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2200" b="0" i="0" u="none" strike="noStrike" cap="none" baseline="0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ea typeface="+mn-ea"/>
                          <a:cs typeface="Poppins" pitchFamily="50" charset="0"/>
                          <a:sym typeface="Arial"/>
                        </a:rPr>
                        <a:t>MVE bate recorde e Abraceel emplaca produto 2022 em processamento extraordinário da CCEE; </a:t>
                      </a:r>
                    </a:p>
                    <a:p>
                      <a:pPr marL="0" marR="0" lvl="0" indent="0" algn="just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2200" b="0" i="0" u="none" strike="noStrike" cap="none" baseline="0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ea typeface="+mn-ea"/>
                          <a:cs typeface="Poppins" pitchFamily="50" charset="0"/>
                          <a:sym typeface="Arial"/>
                        </a:rPr>
                        <a:t>Acatando pleito Abraceel, Aneel propõe isonomia na TUST das usinas do ACL e ACR;</a:t>
                      </a:r>
                    </a:p>
                  </a:txBody>
                  <a:tcPr marL="8558" marR="8558" marT="8558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98808141"/>
                  </a:ext>
                </a:extLst>
              </a:tr>
              <a:tr h="1597444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2200" b="0" i="0" u="none" strike="noStrike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Implementar ações de mídia e comunicação para conscientização da sociedade</a:t>
                      </a:r>
                    </a:p>
                  </a:txBody>
                  <a:tcPr marL="8558" marR="8558" marT="85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rtl="0" font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pt-BR" sz="1100" b="0" i="0" u="none" strike="noStrike">
                        <a:solidFill>
                          <a:schemeClr val="tx1"/>
                        </a:solidFill>
                        <a:effectLst/>
                        <a:latin typeface="Poppins" pitchFamily="50" charset="0"/>
                        <a:cs typeface="Poppins" pitchFamily="50" charset="0"/>
                      </a:endParaRPr>
                    </a:p>
                  </a:txBody>
                  <a:tcPr marL="4279" marR="4279" marT="4279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2200" b="1" i="0" u="none" strike="noStrike" cap="none" baseline="0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ea typeface="+mn-ea"/>
                          <a:cs typeface="Poppins" pitchFamily="50" charset="0"/>
                          <a:sym typeface="Arial"/>
                        </a:rPr>
                        <a:t>Pesquisa Datafolha registra recorde </a:t>
                      </a:r>
                      <a:r>
                        <a:rPr lang="pt-BR" sz="2200" b="0" i="0" u="none" strike="noStrike" cap="none" baseline="0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ea typeface="+mn-ea"/>
                          <a:cs typeface="Poppins" pitchFamily="50" charset="0"/>
                          <a:sym typeface="Arial"/>
                        </a:rPr>
                        <a:t>na vontade do brasileiro em escolher seu próprio fornecedor</a:t>
                      </a:r>
                      <a:r>
                        <a:rPr lang="pt-BR" sz="2200" b="1" i="0" u="none" strike="noStrike" cap="none" baseline="0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ea typeface="+mn-ea"/>
                          <a:cs typeface="Poppins" pitchFamily="50" charset="0"/>
                          <a:sym typeface="Arial"/>
                        </a:rPr>
                        <a:t>;</a:t>
                      </a:r>
                    </a:p>
                    <a:p>
                      <a:pPr marL="0" marR="0" lvl="0" indent="0" algn="just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2200" b="0" i="0" u="none" strike="noStrike" cap="none" baseline="0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ea typeface="+mn-ea"/>
                          <a:cs typeface="Poppins" pitchFamily="50" charset="0"/>
                          <a:sym typeface="Arial"/>
                        </a:rPr>
                        <a:t>Novo plano de mídia: evento com Ministro “Pelo futuro da Energia”, Campanha “Quero Energia Barata”;</a:t>
                      </a:r>
                    </a:p>
                    <a:p>
                      <a:pPr marL="0" marR="0" lvl="0" indent="0" algn="just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2200" b="0" i="0" u="none" strike="noStrike" cap="none" baseline="0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ea typeface="+mn-ea"/>
                          <a:cs typeface="Poppins" pitchFamily="50" charset="0"/>
                          <a:sym typeface="Arial"/>
                        </a:rPr>
                        <a:t>Mais de R$ 12 milhões de retorno de mídia até o momento; Forte interação no Congresso;</a:t>
                      </a:r>
                    </a:p>
                  </a:txBody>
                  <a:tcPr marL="8558" marR="8558" marT="8558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12087578"/>
                  </a:ext>
                </a:extLst>
              </a:tr>
              <a:tr h="1704644">
                <a:tc>
                  <a:txBody>
                    <a:bodyPr/>
                    <a:lstStyle/>
                    <a:p>
                      <a:pPr marR="0" algn="ctr" rtl="0" font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pt-BR" sz="2200" b="0" i="0" u="none" strike="noStrike" kern="1200" cap="none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ea typeface="+mn-ea"/>
                          <a:cs typeface="Poppins" pitchFamily="50" charset="0"/>
                          <a:sym typeface="Arial"/>
                        </a:rPr>
                        <a:t>Fortalecer o comercializador varejista</a:t>
                      </a:r>
                    </a:p>
                  </a:txBody>
                  <a:tcPr marL="8558" marR="8558" marT="8558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pt-BR" sz="2200" b="0" i="0" u="none" strike="noStrike" kern="1200" cap="none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ea typeface="+mn-ea"/>
                          <a:cs typeface="Poppins" pitchFamily="50" charset="0"/>
                          <a:sym typeface="Arial"/>
                        </a:rPr>
                        <a:t>Atuar para fortalecer o Comercializador Varejista no Congresso. Realizar estudo para identificar outros pontos de aprimoramentos.</a:t>
                      </a:r>
                    </a:p>
                  </a:txBody>
                  <a:tcPr marL="8558" marR="8558" marT="85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font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pt-BR" sz="2200" b="0" i="0" u="none" strike="noStrike" kern="1200" cap="none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ea typeface="+mn-ea"/>
                          <a:cs typeface="Poppins" pitchFamily="50" charset="0"/>
                          <a:sym typeface="Arial"/>
                        </a:rPr>
                        <a:t>9,9%</a:t>
                      </a:r>
                    </a:p>
                  </a:txBody>
                  <a:tcPr marL="8558" marR="8558" marT="8558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just" rtl="0" font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pt-BR" sz="2200" b="1" i="0" u="none" strike="noStrike" kern="1200" cap="none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ea typeface="+mn-ea"/>
                          <a:cs typeface="Poppins" pitchFamily="50" charset="0"/>
                          <a:sym typeface="Arial"/>
                        </a:rPr>
                        <a:t>Lei</a:t>
                      </a:r>
                      <a:r>
                        <a:rPr lang="pt-BR" sz="2200" b="1" i="0" u="none" strike="noStrike" kern="1200" cap="none" baseline="0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ea typeface="+mn-ea"/>
                          <a:cs typeface="Poppins" pitchFamily="50" charset="0"/>
                          <a:sym typeface="Arial"/>
                        </a:rPr>
                        <a:t> 14.120 define desmodelagem do consumidor varejista inadimplente </a:t>
                      </a:r>
                      <a:r>
                        <a:rPr lang="pt-BR" sz="2200" b="0" i="0" u="none" strike="noStrike" kern="1200" cap="none" baseline="0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ea typeface="+mn-ea"/>
                          <a:cs typeface="Poppins" pitchFamily="50" charset="0"/>
                          <a:sym typeface="Arial"/>
                        </a:rPr>
                        <a:t>proposta pela Abraceel;</a:t>
                      </a:r>
                    </a:p>
                    <a:p>
                      <a:pPr marR="0" algn="just" rtl="0" font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pt-BR" sz="2200" b="0" i="0" u="none" strike="noStrike" kern="1200" cap="none" baseline="0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ea typeface="+mn-ea"/>
                          <a:cs typeface="Poppins" pitchFamily="50" charset="0"/>
                          <a:sym typeface="Arial"/>
                        </a:rPr>
                        <a:t>Após forte interação com mercado e CCEE, Abraceel apresenta à Aneel proposta para regulamentação da desmodelagem e aprimoramento do varejista;</a:t>
                      </a:r>
                      <a:endParaRPr lang="pt-BR" sz="2200" b="0" i="0" u="none" strike="noStrike" kern="1200" cap="none">
                        <a:solidFill>
                          <a:schemeClr val="bg2"/>
                        </a:solidFill>
                        <a:effectLst/>
                        <a:latin typeface="Poppins" pitchFamily="50" charset="0"/>
                        <a:ea typeface="+mn-ea"/>
                        <a:cs typeface="Poppins" pitchFamily="50" charset="0"/>
                        <a:sym typeface="Arial"/>
                      </a:endParaRPr>
                    </a:p>
                  </a:txBody>
                  <a:tcPr marL="8558" marR="8558" marT="8558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2276296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2200" b="0" i="0" u="none" strike="noStrike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Facilitar o processo de migração</a:t>
                      </a:r>
                    </a:p>
                  </a:txBody>
                  <a:tcPr marL="8558" marR="8558" marT="8558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pt-BR" sz="2200" b="0" i="0" u="none" strike="noStrike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Realizar estudo para identificar pontos críticos no processo de migração. Propor e atuar pela aprovação de medidas concretas para tornar o processo de migração mais simples.</a:t>
                      </a:r>
                    </a:p>
                  </a:txBody>
                  <a:tcPr marL="8558" marR="8558" marT="85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pt-BR" sz="2200" b="0" i="0" u="none" strike="noStrike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9,0%</a:t>
                      </a:r>
                    </a:p>
                  </a:txBody>
                  <a:tcPr marL="8558" marR="8558" marT="8558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2200" b="1" i="0" u="none" strike="noStrike" baseline="0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Entregue à Aneel Proposta Abraceel “Migração: de 6 meses para 6 semanas, é possível?”;</a:t>
                      </a:r>
                    </a:p>
                    <a:p>
                      <a:pPr marL="0" marR="0" lvl="0" indent="0" algn="just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2200" b="0" i="0" u="none" strike="noStrike" baseline="0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CCEE endossa propostas Abraceel em carta para Aneel, que pede contribuições da Associação;</a:t>
                      </a:r>
                    </a:p>
                    <a:p>
                      <a:pPr marL="0" marR="0" lvl="0" indent="0" algn="just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2200" b="1" i="0" u="none" strike="noStrike" baseline="0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Bradesco </a:t>
                      </a:r>
                      <a:r>
                        <a:rPr lang="pt-BR" sz="2200" b="0" i="0" u="none" strike="noStrike" baseline="0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contrata mais funcionários, digitaliza processos  e acelera processo de abertura de conta;</a:t>
                      </a:r>
                    </a:p>
                  </a:txBody>
                  <a:tcPr marL="8558" marR="8558" marT="8558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</a:tbl>
          </a:graphicData>
        </a:graphic>
      </p:graphicFrame>
      <p:pic>
        <p:nvPicPr>
          <p:cNvPr id="4" name="Picture 2" descr="Semáforo - Download Vetores Gratis, Desenhos de Vetor, Modelos e Clipart">
            <a:extLst>
              <a:ext uri="{FF2B5EF4-FFF2-40B4-BE49-F238E27FC236}">
                <a16:creationId xmlns:a16="http://schemas.microsoft.com/office/drawing/2014/main" xmlns="" id="{65B00869-EBB8-41D4-8EAB-6E3828582A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93835" y="84522"/>
            <a:ext cx="1270114" cy="11967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CaixaDeTexto 4">
            <a:extLst>
              <a:ext uri="{FF2B5EF4-FFF2-40B4-BE49-F238E27FC236}">
                <a16:creationId xmlns:a16="http://schemas.microsoft.com/office/drawing/2014/main" xmlns="" id="{E36FB14B-F29F-4F90-A310-4E7F59932E09}"/>
              </a:ext>
            </a:extLst>
          </p:cNvPr>
          <p:cNvSpPr txBox="1"/>
          <p:nvPr/>
        </p:nvSpPr>
        <p:spPr>
          <a:xfrm flipH="1">
            <a:off x="19448981" y="61972"/>
            <a:ext cx="282448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hangingPunct="1">
              <a:buClr>
                <a:srgbClr val="000000"/>
              </a:buClr>
            </a:pPr>
            <a:r>
              <a:rPr lang="pt-BR" sz="2400">
                <a:latin typeface="Poppins" pitchFamily="50" charset="0"/>
                <a:cs typeface="Poppins" pitchFamily="50" charset="0"/>
                <a:sym typeface="Arial"/>
              </a:rPr>
              <a:t>Atrasada</a:t>
            </a:r>
          </a:p>
          <a:p>
            <a:pPr hangingPunct="1">
              <a:buClr>
                <a:srgbClr val="000000"/>
              </a:buClr>
            </a:pPr>
            <a:r>
              <a:rPr lang="pt-BR" sz="2400">
                <a:latin typeface="Poppins" pitchFamily="50" charset="0"/>
                <a:cs typeface="Poppins" pitchFamily="50" charset="0"/>
                <a:sym typeface="Arial"/>
              </a:rPr>
              <a:t>Atenção</a:t>
            </a:r>
          </a:p>
          <a:p>
            <a:pPr hangingPunct="1">
              <a:buClr>
                <a:srgbClr val="000000"/>
              </a:buClr>
            </a:pPr>
            <a:r>
              <a:rPr lang="pt-BR" sz="2400">
                <a:latin typeface="Poppins" pitchFamily="50" charset="0"/>
                <a:cs typeface="Poppins" pitchFamily="50" charset="0"/>
                <a:sym typeface="Arial"/>
              </a:rPr>
              <a:t>Avançada</a:t>
            </a:r>
          </a:p>
        </p:txBody>
      </p:sp>
      <p:sp>
        <p:nvSpPr>
          <p:cNvPr id="10" name="Fluxograma: Conector 9">
            <a:extLst>
              <a:ext uri="{FF2B5EF4-FFF2-40B4-BE49-F238E27FC236}">
                <a16:creationId xmlns:a16="http://schemas.microsoft.com/office/drawing/2014/main" xmlns="" id="{E282F460-6F69-41CE-B0E5-34AA39E03CA3}"/>
              </a:ext>
            </a:extLst>
          </p:cNvPr>
          <p:cNvSpPr/>
          <p:nvPr/>
        </p:nvSpPr>
        <p:spPr>
          <a:xfrm>
            <a:off x="8546845" y="10712804"/>
            <a:ext cx="490402" cy="447040"/>
          </a:xfrm>
          <a:prstGeom prst="flowChartConnector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hangingPunct="1">
              <a:buClr>
                <a:srgbClr val="000000"/>
              </a:buClr>
            </a:pPr>
            <a:endParaRPr lang="pt-BR" sz="2800">
              <a:solidFill>
                <a:srgbClr val="FFFFFF"/>
              </a:solidFill>
              <a:latin typeface="Arial"/>
              <a:sym typeface="Arial"/>
            </a:endParaRPr>
          </a:p>
        </p:txBody>
      </p:sp>
      <p:sp>
        <p:nvSpPr>
          <p:cNvPr id="11" name="Fluxograma: Conector 10">
            <a:extLst>
              <a:ext uri="{FF2B5EF4-FFF2-40B4-BE49-F238E27FC236}">
                <a16:creationId xmlns:a16="http://schemas.microsoft.com/office/drawing/2014/main" xmlns="" id="{E282F460-6F69-41CE-B0E5-34AA39E03CA3}"/>
              </a:ext>
            </a:extLst>
          </p:cNvPr>
          <p:cNvSpPr/>
          <p:nvPr/>
        </p:nvSpPr>
        <p:spPr>
          <a:xfrm>
            <a:off x="8546845" y="12725618"/>
            <a:ext cx="490402" cy="447040"/>
          </a:xfrm>
          <a:prstGeom prst="flowChartConnector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hangingPunct="1">
              <a:buClr>
                <a:srgbClr val="000000"/>
              </a:buClr>
            </a:pPr>
            <a:endParaRPr lang="pt-BR" sz="2800">
              <a:solidFill>
                <a:srgbClr val="FFFFFF"/>
              </a:solidFill>
              <a:latin typeface="Arial"/>
              <a:sym typeface="Arial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22673568" y="1"/>
            <a:ext cx="17104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hangingPunct="1">
              <a:buClr>
                <a:srgbClr val="000000"/>
              </a:buClr>
            </a:pPr>
            <a:r>
              <a:rPr lang="pt-BR" sz="1600">
                <a:latin typeface="Poppins"/>
                <a:cs typeface="Arial"/>
                <a:sym typeface="Arial"/>
              </a:rPr>
              <a:t>05/10/2021</a:t>
            </a:r>
          </a:p>
        </p:txBody>
      </p:sp>
      <p:sp>
        <p:nvSpPr>
          <p:cNvPr id="14" name="Google Shape;40;p8"/>
          <p:cNvSpPr txBox="1"/>
          <p:nvPr/>
        </p:nvSpPr>
        <p:spPr>
          <a:xfrm>
            <a:off x="5143501" y="304802"/>
            <a:ext cx="14096998" cy="10156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6" tIns="45700" rIns="91426" bIns="45700" anchor="t" anchorCtr="0">
            <a:spAutoFit/>
          </a:bodyPr>
          <a:lstStyle/>
          <a:p>
            <a:pPr algn="ctr" defTabSz="914400" hangingPunct="1">
              <a:buClr>
                <a:srgbClr val="000000"/>
              </a:buClr>
              <a:defRPr/>
            </a:pPr>
            <a:r>
              <a:rPr lang="en-US" sz="6000" b="1" err="1">
                <a:latin typeface="Poppins"/>
                <a:ea typeface="Poppins"/>
                <a:cs typeface="Poppins"/>
                <a:sym typeface="Poppins"/>
              </a:rPr>
              <a:t>Acompanhamento</a:t>
            </a:r>
            <a:r>
              <a:rPr lang="en-US" sz="6000" b="1">
                <a:latin typeface="Poppins"/>
                <a:ea typeface="Poppins"/>
                <a:cs typeface="Poppins"/>
                <a:sym typeface="Poppins"/>
              </a:rPr>
              <a:t> de Metas</a:t>
            </a:r>
            <a:endParaRPr lang="en-US" sz="1400"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15" name="Fluxograma: Conector 14">
            <a:extLst>
              <a:ext uri="{FF2B5EF4-FFF2-40B4-BE49-F238E27FC236}">
                <a16:creationId xmlns:a16="http://schemas.microsoft.com/office/drawing/2014/main" xmlns="" id="{E282F460-6F69-41CE-B0E5-34AA39E03CA3}"/>
              </a:ext>
            </a:extLst>
          </p:cNvPr>
          <p:cNvSpPr/>
          <p:nvPr/>
        </p:nvSpPr>
        <p:spPr>
          <a:xfrm>
            <a:off x="8546845" y="6634480"/>
            <a:ext cx="490402" cy="447040"/>
          </a:xfrm>
          <a:prstGeom prst="flowChartConnector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hangingPunct="1">
              <a:buClr>
                <a:srgbClr val="000000"/>
              </a:buClr>
            </a:pPr>
            <a:endParaRPr lang="pt-BR" sz="2800">
              <a:solidFill>
                <a:srgbClr val="FFFFFF"/>
              </a:solidFill>
              <a:latin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8838617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ela 1">
            <a:extLst>
              <a:ext uri="{FF2B5EF4-FFF2-40B4-BE49-F238E27FC236}">
                <a16:creationId xmlns:a16="http://schemas.microsoft.com/office/drawing/2014/main" xmlns="" id="{74D8F239-F0D8-4944-9EB7-D478EFA4159D}"/>
              </a:ext>
            </a:extLst>
          </p:cNvPr>
          <p:cNvGraphicFramePr>
            <a:graphicFrameLocks noGrp="1"/>
          </p:cNvGraphicFramePr>
          <p:nvPr/>
        </p:nvGraphicFramePr>
        <p:xfrm>
          <a:off x="308522" y="1818684"/>
          <a:ext cx="23659884" cy="11048376"/>
        </p:xfrm>
        <a:graphic>
          <a:graphicData uri="http://schemas.openxmlformats.org/drawingml/2006/table">
            <a:tbl>
              <a:tblPr/>
              <a:tblGrid>
                <a:gridCol w="2514578">
                  <a:extLst>
                    <a:ext uri="{9D8B030D-6E8A-4147-A177-3AD203B41FA5}">
                      <a16:colId xmlns:a16="http://schemas.microsoft.com/office/drawing/2014/main" xmlns="" val="738384048"/>
                    </a:ext>
                  </a:extLst>
                </a:gridCol>
                <a:gridCol w="5344356">
                  <a:extLst>
                    <a:ext uri="{9D8B030D-6E8A-4147-A177-3AD203B41FA5}">
                      <a16:colId xmlns:a16="http://schemas.microsoft.com/office/drawing/2014/main" xmlns="" val="300445978"/>
                    </a:ext>
                  </a:extLst>
                </a:gridCol>
                <a:gridCol w="1420428">
                  <a:extLst>
                    <a:ext uri="{9D8B030D-6E8A-4147-A177-3AD203B41FA5}">
                      <a16:colId xmlns:a16="http://schemas.microsoft.com/office/drawing/2014/main" xmlns="" val="1140264468"/>
                    </a:ext>
                  </a:extLst>
                </a:gridCol>
                <a:gridCol w="14380522">
                  <a:extLst>
                    <a:ext uri="{9D8B030D-6E8A-4147-A177-3AD203B41FA5}">
                      <a16:colId xmlns:a16="http://schemas.microsoft.com/office/drawing/2014/main" xmlns="" val="1347093459"/>
                    </a:ext>
                  </a:extLst>
                </a:gridCol>
              </a:tblGrid>
              <a:tr h="738084">
                <a:tc gridSpan="4">
                  <a:txBody>
                    <a:bodyPr/>
                    <a:lstStyle/>
                    <a:p>
                      <a:pPr algn="ctr" fontAlgn="b"/>
                      <a:r>
                        <a:rPr lang="pt-BR" sz="2800" b="1" i="0" u="none" strike="noStrike">
                          <a:solidFill>
                            <a:srgbClr val="FFFFFF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BANDEIRA 2:  FORMAÇÃO DE PREÇOS (27,9%)</a:t>
                      </a:r>
                    </a:p>
                  </a:txBody>
                  <a:tcPr marL="8508" marR="8508" marT="8508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>
                    <a:lnL w="12700" cmpd="sng">
                      <a:noFill/>
                      <a:prstDash val="soli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>
                    <a:lnL w="12700" cmpd="sng">
                      <a:noFill/>
                      <a:prstDash val="solid"/>
                    </a:ln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pt-BR" sz="12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54" marR="4254" marT="425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788582589"/>
                  </a:ext>
                </a:extLst>
              </a:tr>
              <a:tr h="674704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2200" b="1" i="0" u="none" strike="noStrike" kern="1200">
                          <a:solidFill>
                            <a:srgbClr val="FFFFFF"/>
                          </a:solidFill>
                          <a:effectLst/>
                          <a:latin typeface="Poppins" pitchFamily="50" charset="0"/>
                          <a:ea typeface="+mn-ea"/>
                          <a:cs typeface="Poppins" pitchFamily="50" charset="0"/>
                        </a:rPr>
                        <a:t>Metas </a:t>
                      </a:r>
                    </a:p>
                  </a:txBody>
                  <a:tcPr marL="8508" marR="8508" marT="850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200" b="1" i="0" u="none" strike="noStrike">
                          <a:solidFill>
                            <a:schemeClr val="bg1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Atividade</a:t>
                      </a:r>
                      <a:endParaRPr lang="pt-BR" sz="2200">
                        <a:solidFill>
                          <a:schemeClr val="bg1"/>
                        </a:solidFill>
                        <a:latin typeface="Poppins" pitchFamily="50" charset="0"/>
                        <a:cs typeface="Poppins" pitchFamily="50" charset="0"/>
                      </a:endParaRPr>
                    </a:p>
                  </a:txBody>
                  <a:tcPr marL="8508" marR="8508" marT="850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200" b="1" i="0" u="none" strike="noStrike">
                          <a:solidFill>
                            <a:srgbClr val="FFFFFF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Peso</a:t>
                      </a:r>
                      <a:endParaRPr lang="pt-BR" sz="2200">
                        <a:latin typeface="Poppins" pitchFamily="50" charset="0"/>
                        <a:cs typeface="Poppins" pitchFamily="50" charset="0"/>
                      </a:endParaRPr>
                    </a:p>
                  </a:txBody>
                  <a:tcPr marL="8508" marR="8508" marT="850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200" b="1" i="0" u="none" strike="noStrike">
                          <a:solidFill>
                            <a:srgbClr val="FFFFFF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Principais</a:t>
                      </a:r>
                      <a:r>
                        <a:rPr lang="pt-BR" sz="2200" b="1" i="0" u="none" strike="noStrike" baseline="0">
                          <a:solidFill>
                            <a:srgbClr val="FFFFFF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 resultados</a:t>
                      </a:r>
                      <a:endParaRPr lang="pt-BR" sz="2200" b="1" i="0" u="none" strike="noStrike">
                        <a:solidFill>
                          <a:srgbClr val="FFFFFF"/>
                        </a:solidFill>
                        <a:effectLst/>
                        <a:latin typeface="Poppins" pitchFamily="50" charset="0"/>
                        <a:cs typeface="Poppins" pitchFamily="50" charset="0"/>
                      </a:endParaRPr>
                    </a:p>
                  </a:txBody>
                  <a:tcPr marL="8508" marR="8508" marT="850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846121471"/>
                  </a:ext>
                </a:extLst>
              </a:tr>
              <a:tr h="4184144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2200" b="0" i="0" u="none" strike="noStrike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Realizar Estudo para aprimorar a formação de preços por modelo</a:t>
                      </a:r>
                    </a:p>
                  </a:txBody>
                  <a:tcPr marL="8508" marR="8508" marT="8508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200" b="0" i="0" u="none" strike="noStrike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Elaborar Estudo para identificar principais benefícios e desafios na formação de preços por modelos, identificar principais divergências dos resultados dos modelos com a operação real do sistema e elaborar plano de ação para </a:t>
                      </a:r>
                    </a:p>
                    <a:p>
                      <a:pPr algn="ctr"/>
                      <a:r>
                        <a:rPr lang="pt-BR" sz="2200" b="0" i="0" u="none" strike="noStrike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aumentar a robustez dos modelos</a:t>
                      </a:r>
                      <a:endParaRPr lang="pt-BR" sz="2200" b="0">
                        <a:solidFill>
                          <a:schemeClr val="bg2"/>
                        </a:solidFill>
                        <a:latin typeface="Poppins" pitchFamily="50" charset="0"/>
                        <a:cs typeface="Poppins" pitchFamily="50" charset="0"/>
                      </a:endParaRPr>
                    </a:p>
                  </a:txBody>
                  <a:tcPr marL="8508" marR="8508" marT="8508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2200" b="0" baseline="0">
                          <a:solidFill>
                            <a:schemeClr val="bg2"/>
                          </a:solidFill>
                          <a:latin typeface="Poppins" pitchFamily="50" charset="0"/>
                          <a:cs typeface="Poppins" pitchFamily="50" charset="0"/>
                        </a:rPr>
                        <a:t>17,2%</a:t>
                      </a:r>
                    </a:p>
                  </a:txBody>
                  <a:tcPr marL="8508" marR="8508" marT="850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2200" b="0">
                          <a:solidFill>
                            <a:schemeClr val="bg2"/>
                          </a:solidFill>
                          <a:latin typeface="Poppins" pitchFamily="50" charset="0"/>
                          <a:cs typeface="Poppins" pitchFamily="50" charset="0"/>
                        </a:rPr>
                        <a:t>PSR está desenvolvendo estudo</a:t>
                      </a:r>
                      <a:r>
                        <a:rPr lang="pt-BR" sz="2200" b="0" baseline="0">
                          <a:solidFill>
                            <a:schemeClr val="bg2"/>
                          </a:solidFill>
                          <a:latin typeface="Poppins" pitchFamily="50" charset="0"/>
                          <a:cs typeface="Poppins" pitchFamily="50" charset="0"/>
                        </a:rPr>
                        <a:t>, com previsão de conclusão no final de novembro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2200" b="1" i="0" u="none" strike="noStrike" baseline="0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CPAMP acata pleito Abraceel e mantém </a:t>
                      </a:r>
                      <a:r>
                        <a:rPr lang="pt-BR" sz="2200" b="1" i="0" u="none" strike="noStrike" baseline="0" err="1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CVaR</a:t>
                      </a:r>
                      <a:r>
                        <a:rPr lang="pt-BR" sz="2200" b="1" i="0" u="none" strike="noStrike" baseline="0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 inalterado em 2022</a:t>
                      </a:r>
                    </a:p>
                  </a:txBody>
                  <a:tcPr marL="8508" marR="8508" marT="850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072465880"/>
                  </a:ext>
                </a:extLst>
              </a:tr>
              <a:tr h="2686754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pt-BR" sz="2200" b="0" i="0" u="none" strike="noStrike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Elevar a Transparência do Cálculo do PLD</a:t>
                      </a:r>
                    </a:p>
                  </a:txBody>
                  <a:tcPr marL="8508" marR="8508" marT="8508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200" b="0" i="0" u="none" strike="noStrike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Mapear processo de formação de preços, identificando etapas críticas e mais suscetíveis ao risco de intervenção humana</a:t>
                      </a:r>
                      <a:endParaRPr lang="pt-BR" sz="2200" b="0">
                        <a:solidFill>
                          <a:schemeClr val="bg2"/>
                        </a:solidFill>
                        <a:latin typeface="Poppins" pitchFamily="50" charset="0"/>
                        <a:cs typeface="Poppins" pitchFamily="50" charset="0"/>
                      </a:endParaRPr>
                    </a:p>
                  </a:txBody>
                  <a:tcPr marL="8508" marR="8508" marT="8508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pt-BR" sz="2200" b="0" i="0" u="none" strike="noStrike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10,8%</a:t>
                      </a:r>
                    </a:p>
                  </a:txBody>
                  <a:tcPr marL="8508" marR="8508" marT="8508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pt-BR" sz="2200" b="1" i="0" u="none" strike="noStrike" baseline="0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Caso São Francisco: Aneel acata pleito </a:t>
                      </a:r>
                      <a:r>
                        <a:rPr lang="pt-BR" sz="2200" b="1" i="0" u="none" strike="noStrike" baseline="0" err="1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Abraceel</a:t>
                      </a:r>
                      <a:r>
                        <a:rPr lang="pt-BR" sz="2200" b="1" i="0" u="none" strike="noStrike" baseline="0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 </a:t>
                      </a:r>
                      <a:r>
                        <a:rPr lang="pt-BR" sz="2200" b="0" i="0" u="none" strike="noStrike" baseline="0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de respeito à previsibilidade da CNPE 07</a:t>
                      </a:r>
                    </a:p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pt-BR" sz="2200" b="0" i="0" u="none" strike="noStrike" baseline="0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CPAMP mantém respeito à previsibilidade de preços em proposta de revisão da CNPE 07</a:t>
                      </a:r>
                    </a:p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pt-BR" sz="2200" b="0" i="0" u="none" strike="noStrike" baseline="0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CPAMP aprimora governança interna em linha com sugestões da Abraceel</a:t>
                      </a:r>
                    </a:p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pt-BR" sz="2200" b="0" i="0" u="none" strike="noStrike" baseline="0">
                        <a:solidFill>
                          <a:schemeClr val="bg2"/>
                        </a:solidFill>
                        <a:effectLst/>
                        <a:latin typeface="Poppins" pitchFamily="50" charset="0"/>
                        <a:cs typeface="Poppins" pitchFamily="50" charset="0"/>
                      </a:endParaRPr>
                    </a:p>
                  </a:txBody>
                  <a:tcPr marL="8508" marR="8508" marT="8508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620128299"/>
                  </a:ext>
                </a:extLst>
              </a:tr>
              <a:tr h="2764690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200" b="0" i="0" u="none" strike="noStrike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Propor melhorias na governança na publicação do PLD, propondo indicadores de monitoramento</a:t>
                      </a:r>
                      <a:endParaRPr lang="pt-BR" sz="2200" b="0">
                        <a:solidFill>
                          <a:schemeClr val="bg2"/>
                        </a:solidFill>
                        <a:latin typeface="Poppins" pitchFamily="50" charset="0"/>
                        <a:cs typeface="Poppins" pitchFamily="50" charset="0"/>
                      </a:endParaRPr>
                    </a:p>
                  </a:txBody>
                  <a:tcPr marL="8508" marR="8508" marT="8508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pt-BR" sz="1100" b="0" i="0" u="none" strike="noStrike" baseline="0">
                        <a:solidFill>
                          <a:schemeClr val="tx1"/>
                        </a:solidFill>
                        <a:effectLst/>
                        <a:latin typeface="Poppins" pitchFamily="50" charset="0"/>
                        <a:cs typeface="Poppins" pitchFamily="50" charset="0"/>
                      </a:endParaRPr>
                    </a:p>
                  </a:txBody>
                  <a:tcPr marL="4254" marR="4254" marT="4254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pt-BR" sz="2200" b="0" i="0" u="none" strike="noStrike" baseline="0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Após pleito da </a:t>
                      </a:r>
                      <a:r>
                        <a:rPr lang="pt-BR" sz="2200" b="0" i="0" u="none" strike="noStrike" baseline="0" err="1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Abraceel</a:t>
                      </a:r>
                      <a:r>
                        <a:rPr lang="pt-BR" sz="2200" b="0" i="0" u="none" strike="noStrike" baseline="0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, </a:t>
                      </a:r>
                      <a:r>
                        <a:rPr lang="pt-BR" sz="2200" b="1" i="0" u="none" strike="noStrike" baseline="0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ONS divulga novo produto no </a:t>
                      </a:r>
                      <a:r>
                        <a:rPr lang="pt-BR" sz="2200" b="1" i="0" u="none" strike="noStrike" baseline="0" err="1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Sintegre</a:t>
                      </a:r>
                      <a:r>
                        <a:rPr lang="pt-BR" sz="2200" b="1" i="0" u="none" strike="noStrike" baseline="0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 de documentos relevantes</a:t>
                      </a:r>
                    </a:p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pt-BR" sz="2200" b="0" i="0" u="none" strike="noStrike" baseline="0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Atuação em erros e casos específicos: TVR Belo Monte, Intercâmbio NE-SE, Desacoplamento modelos... </a:t>
                      </a:r>
                    </a:p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pt-BR" sz="2200" b="0" i="0" u="none" strike="noStrike" baseline="0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Lançamento em 09.11 do Indicador de Acoplamento desenvolvido com a Volt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pt-BR" sz="2200" b="0" i="0" u="none" strike="noStrike" baseline="0">
                          <a:solidFill>
                            <a:schemeClr val="bg2"/>
                          </a:solidFill>
                          <a:effectLst/>
                          <a:latin typeface="Poppins" pitchFamily="50" charset="0"/>
                          <a:cs typeface="Poppins" pitchFamily="50" charset="0"/>
                        </a:rPr>
                        <a:t>Forte interação com ONS e CCEE para dar transparência às informações que alimentam os modelos e assegurar a previsibilidade das alterações que formam o preço</a:t>
                      </a:r>
                    </a:p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pt-BR" sz="2200" b="0" i="0" u="none" strike="noStrike" baseline="0">
                        <a:solidFill>
                          <a:schemeClr val="bg2"/>
                        </a:solidFill>
                        <a:effectLst/>
                        <a:latin typeface="Poppins" pitchFamily="50" charset="0"/>
                        <a:cs typeface="Poppins" pitchFamily="50" charset="0"/>
                      </a:endParaRPr>
                    </a:p>
                  </a:txBody>
                  <a:tcPr marL="8508" marR="8508" marT="8508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784225650"/>
                  </a:ext>
                </a:extLst>
              </a:tr>
            </a:tbl>
          </a:graphicData>
        </a:graphic>
      </p:graphicFrame>
      <p:sp>
        <p:nvSpPr>
          <p:cNvPr id="20" name="Google Shape;40;p8"/>
          <p:cNvSpPr txBox="1"/>
          <p:nvPr/>
        </p:nvSpPr>
        <p:spPr>
          <a:xfrm>
            <a:off x="5143501" y="304802"/>
            <a:ext cx="14096998" cy="10156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6" tIns="45700" rIns="91426" bIns="45700" anchor="t" anchorCtr="0">
            <a:spAutoFit/>
          </a:bodyPr>
          <a:lstStyle/>
          <a:p>
            <a:pPr algn="ctr" defTabSz="914400" hangingPunct="1">
              <a:buClr>
                <a:srgbClr val="000000"/>
              </a:buClr>
              <a:defRPr/>
            </a:pPr>
            <a:r>
              <a:rPr lang="en-US" sz="6000" b="1" err="1">
                <a:latin typeface="Poppins"/>
                <a:ea typeface="Poppins"/>
                <a:cs typeface="Poppins"/>
                <a:sym typeface="Poppins"/>
              </a:rPr>
              <a:t>Acompanhamento</a:t>
            </a:r>
            <a:r>
              <a:rPr lang="en-US" sz="6000" b="1">
                <a:latin typeface="Poppins"/>
                <a:ea typeface="Poppins"/>
                <a:cs typeface="Poppins"/>
                <a:sym typeface="Poppins"/>
              </a:rPr>
              <a:t> de Metas</a:t>
            </a:r>
            <a:endParaRPr lang="en-US" sz="1400">
              <a:latin typeface="Arial"/>
              <a:ea typeface="+mn-ea"/>
              <a:cs typeface="Arial"/>
              <a:sym typeface="Arial"/>
            </a:endParaRPr>
          </a:p>
        </p:txBody>
      </p:sp>
      <p:pic>
        <p:nvPicPr>
          <p:cNvPr id="5" name="Picture 2" descr="Semáforo - Download Vetores Gratis, Desenhos de Vetor, Modelos e Clipart">
            <a:extLst>
              <a:ext uri="{FF2B5EF4-FFF2-40B4-BE49-F238E27FC236}">
                <a16:creationId xmlns:a16="http://schemas.microsoft.com/office/drawing/2014/main" xmlns="" id="{65B00869-EBB8-41D4-8EAB-6E3828582A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93835" y="84522"/>
            <a:ext cx="1270114" cy="11967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CaixaDeTexto 5">
            <a:extLst>
              <a:ext uri="{FF2B5EF4-FFF2-40B4-BE49-F238E27FC236}">
                <a16:creationId xmlns:a16="http://schemas.microsoft.com/office/drawing/2014/main" xmlns="" id="{E36FB14B-F29F-4F90-A310-4E7F59932E09}"/>
              </a:ext>
            </a:extLst>
          </p:cNvPr>
          <p:cNvSpPr txBox="1"/>
          <p:nvPr/>
        </p:nvSpPr>
        <p:spPr>
          <a:xfrm flipH="1">
            <a:off x="19448981" y="61972"/>
            <a:ext cx="282448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hangingPunct="1">
              <a:buClr>
                <a:srgbClr val="000000"/>
              </a:buClr>
            </a:pPr>
            <a:r>
              <a:rPr lang="pt-BR" sz="2400">
                <a:latin typeface="Poppins" pitchFamily="50" charset="0"/>
                <a:cs typeface="Poppins" pitchFamily="50" charset="0"/>
                <a:sym typeface="Arial"/>
              </a:rPr>
              <a:t>Atrasada</a:t>
            </a:r>
          </a:p>
          <a:p>
            <a:pPr hangingPunct="1">
              <a:buClr>
                <a:srgbClr val="000000"/>
              </a:buClr>
            </a:pPr>
            <a:r>
              <a:rPr lang="pt-BR" sz="2400">
                <a:latin typeface="Poppins" pitchFamily="50" charset="0"/>
                <a:cs typeface="Poppins" pitchFamily="50" charset="0"/>
                <a:sym typeface="Arial"/>
              </a:rPr>
              <a:t>Atenção</a:t>
            </a:r>
          </a:p>
          <a:p>
            <a:pPr hangingPunct="1">
              <a:buClr>
                <a:srgbClr val="000000"/>
              </a:buClr>
            </a:pPr>
            <a:r>
              <a:rPr lang="pt-BR" sz="2400">
                <a:latin typeface="Poppins" pitchFamily="50" charset="0"/>
                <a:cs typeface="Poppins" pitchFamily="50" charset="0"/>
                <a:sym typeface="Arial"/>
              </a:rPr>
              <a:t>Avançada</a:t>
            </a:r>
          </a:p>
        </p:txBody>
      </p:sp>
      <p:sp>
        <p:nvSpPr>
          <p:cNvPr id="8" name="Fluxograma: Conector 7">
            <a:extLst>
              <a:ext uri="{FF2B5EF4-FFF2-40B4-BE49-F238E27FC236}">
                <a16:creationId xmlns:a16="http://schemas.microsoft.com/office/drawing/2014/main" xmlns="" id="{E282F460-6F69-41CE-B0E5-34AA39E03CA3}"/>
              </a:ext>
            </a:extLst>
          </p:cNvPr>
          <p:cNvSpPr/>
          <p:nvPr/>
        </p:nvSpPr>
        <p:spPr>
          <a:xfrm>
            <a:off x="8620093" y="10474274"/>
            <a:ext cx="490402" cy="447040"/>
          </a:xfrm>
          <a:prstGeom prst="flowChartConnector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hangingPunct="1">
              <a:buClr>
                <a:srgbClr val="000000"/>
              </a:buClr>
            </a:pPr>
            <a:endParaRPr lang="pt-BR" sz="2800">
              <a:solidFill>
                <a:srgbClr val="FFFFFF"/>
              </a:solidFill>
              <a:latin typeface="Arial"/>
              <a:sym typeface="Arial"/>
            </a:endParaRPr>
          </a:p>
        </p:txBody>
      </p:sp>
      <p:sp>
        <p:nvSpPr>
          <p:cNvPr id="10" name="Fluxograma: Conector 9">
            <a:extLst>
              <a:ext uri="{FF2B5EF4-FFF2-40B4-BE49-F238E27FC236}">
                <a16:creationId xmlns:a16="http://schemas.microsoft.com/office/drawing/2014/main" xmlns="" id="{E282F460-6F69-41CE-B0E5-34AA39E03CA3}"/>
              </a:ext>
            </a:extLst>
          </p:cNvPr>
          <p:cNvSpPr/>
          <p:nvPr/>
        </p:nvSpPr>
        <p:spPr>
          <a:xfrm>
            <a:off x="8620093" y="5658240"/>
            <a:ext cx="490402" cy="447040"/>
          </a:xfrm>
          <a:prstGeom prst="flowChartConnector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hangingPunct="1">
              <a:buClr>
                <a:srgbClr val="000000"/>
              </a:buClr>
            </a:pPr>
            <a:endParaRPr lang="pt-BR" sz="2800">
              <a:solidFill>
                <a:srgbClr val="FFFFFF"/>
              </a:solidFill>
              <a:latin typeface="Arial"/>
              <a:sym typeface="Arial"/>
            </a:endParaRPr>
          </a:p>
        </p:txBody>
      </p:sp>
      <p:sp>
        <p:nvSpPr>
          <p:cNvPr id="15" name="CaixaDeTexto 14"/>
          <p:cNvSpPr txBox="1"/>
          <p:nvPr/>
        </p:nvSpPr>
        <p:spPr>
          <a:xfrm>
            <a:off x="22673568" y="1"/>
            <a:ext cx="17104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hangingPunct="1">
              <a:buClr>
                <a:srgbClr val="000000"/>
              </a:buClr>
            </a:pPr>
            <a:r>
              <a:rPr lang="pt-BR" sz="1600">
                <a:latin typeface="Poppins"/>
                <a:cs typeface="Arial"/>
                <a:sym typeface="Arial"/>
              </a:rPr>
              <a:t>05/10/2021</a:t>
            </a:r>
          </a:p>
        </p:txBody>
      </p:sp>
    </p:spTree>
    <p:extLst>
      <p:ext uri="{BB962C8B-B14F-4D97-AF65-F5344CB8AC3E}">
        <p14:creationId xmlns:p14="http://schemas.microsoft.com/office/powerpoint/2010/main" val="20980567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NDO_REDO_REVISION" val="158"/>
  <p:tag name="THINKCELLPRESENTATIONDONOTDELETE" val="&lt;?xml version=&quot;1.0&quot; encoding=&quot;UTF-16&quot; standalone=&quot;yes&quot;?&gt;&lt;root reqver=&quot;27037&quot;&gt;&lt;version val=&quot;3243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2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9&quot;&gt;&lt;elem m_fUsage=&quot;3.91569955090740506876E+00&quot;&gt;&lt;m_msothmcolidx val=&quot;0&quot;/&gt;&lt;m_rgb r=&quot;C2&quot; g=&quot;DE&quot; b=&quot;AF&quot;/&gt;&lt;/elem&gt;&lt;elem m_fUsage=&quot;2.02202200032040879663E+00&quot;&gt;&lt;m_msothmcolidx val=&quot;0&quot;/&gt;&lt;m_rgb r=&quot;FF&quot; g=&quot;A7&quot; b=&quot;66&quot;/&gt;&lt;/elem&gt;&lt;elem m_fUsage=&quot;1.36609726126667330171E+00&quot;&gt;&lt;m_msothmcolidx val=&quot;0&quot;/&gt;&lt;m_rgb r=&quot;A7&quot; g=&quot;CA&quot; b=&quot;E9&quot;/&gt;&lt;/elem&gt;&lt;elem m_fUsage=&quot;1.00000000000000000000E+00&quot;&gt;&lt;m_msothmcolidx val=&quot;0&quot;/&gt;&lt;m_rgb r=&quot;F4&quot; g=&quot;4F&quot; b=&quot;15&quot;/&gt;&lt;/elem&gt;&lt;elem m_fUsage=&quot;6.09890073783493913417E-01&quot;&gt;&lt;m_msothmcolidx val=&quot;0&quot;/&gt;&lt;m_rgb r=&quot;88&quot; g=&quot;B7&quot; b=&quot;E1&quot;/&gt;&lt;/elem&gt;&lt;elem m_fUsage=&quot;5.22657222350647265863E-01&quot;&gt;&lt;m_msothmcolidx val=&quot;0&quot;/&gt;&lt;m_rgb r=&quot;F7&quot; g=&quot;F7&quot; b=&quot;B9&quot;/&gt;&lt;/elem&gt;&lt;elem m_fUsage=&quot;3.23126118102436910018E-01&quot;&gt;&lt;m_msothmcolidx val=&quot;0&quot;/&gt;&lt;m_rgb r=&quot;F6&quot; g=&quot;72&quot; b=&quot;43&quot;/&gt;&lt;/elem&gt;&lt;elem m_fUsage=&quot;2.11219028532768582362E-01&quot;&gt;&lt;m_msothmcolidx val=&quot;0&quot;/&gt;&lt;m_rgb r=&quot;D3&quot; g=&quot;D3&quot; b=&quot;D3&quot;/&gt;&lt;/elem&gt;&lt;elem m_fUsage=&quot;4.63839768658810738117E-03&quot;&gt;&lt;m_msothmcolidx val=&quot;0&quot;/&gt;&lt;m_rgb r=&quot;7D&quot; g=&quot;9D&quot; b=&quot;C6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wz.Hj8o7ZN5Tnbvw8Ppv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JGOAt5KFxCx67g5HUgj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JGOAt5KFxCx67g5HUgj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JGOAt5KFxCx67g5HUgj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JGOAt5KFxCx67g5HUgj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JGOAt5KFxCx67g5HUgj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JGOAt5KFxCx67g5HUgj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wz.Hj8o7ZN5Tnbvw8Ppv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mCI24URLCf9Hgui0rVo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mCI24URLCf9Hgui0rVo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mCI24URLCf9Hgui0rVo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JGOAt5KFxCx67g5HUgj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JGOAt5KFxCx67g5HUgj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Tema do Office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000FF"/>
      </a:hlink>
      <a:folHlink>
        <a:srgbClr val="FF00FF"/>
      </a:folHlink>
    </a:clrScheme>
    <a:fontScheme name="Tema do Office">
      <a:majorFont>
        <a:latin typeface="Raleway-SemiBold"/>
        <a:ea typeface="Raleway-SemiBold"/>
        <a:cs typeface="Raleway-SemiBold"/>
      </a:majorFont>
      <a:minorFont>
        <a:latin typeface="Raleway-SemiBold"/>
        <a:ea typeface="Raleway-SemiBold"/>
        <a:cs typeface="Raleway-SemiBold"/>
      </a:minorFont>
    </a:fontScheme>
    <a:fmtScheme name="Tema do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rgbClr val="F44F15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91439" tIns="91439" rIns="91439" bIns="91439" numCol="1" spcCol="38100" rtlCol="0" anchor="ctr">
        <a:noAutofit/>
      </a:bodyPr>
      <a:lstStyle>
        <a:defPPr marL="0" marR="0" indent="0" algn="l" defTabSz="18288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800" b="1" i="0" u="none" strike="noStrike" cap="none" spc="0" normalizeH="0" baseline="0" dirty="0" smtClean="0">
            <a:ln>
              <a:noFill/>
            </a:ln>
            <a:solidFill>
              <a:srgbClr val="000000"/>
            </a:solidFill>
            <a:effectLst/>
            <a:uFillTx/>
            <a:latin typeface="Calibri"/>
            <a:ea typeface="Calibri"/>
            <a:cs typeface="Calibri"/>
            <a:sym typeface="Calibri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25400" cap="flat">
          <a:noFill/>
          <a:miter lim="400000"/>
        </a:ln>
        <a:effectLst/>
        <a:sp3d/>
      </a:spPr>
      <a:bodyPr rot="0" spcFirstLastPara="1" vertOverflow="overflow" horzOverflow="overflow" vert="horz" wrap="square" lIns="91439" tIns="91439" rIns="91439" bIns="91439" numCol="1" spcCol="38100" rtlCol="0" anchor="t">
        <a:spAutoFit/>
      </a:bodyPr>
      <a:lstStyle>
        <a:defPPr marL="0" marR="0" indent="0" algn="l" defTabSz="18288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6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Calibri"/>
            <a:ea typeface="Calibri"/>
            <a:cs typeface="Calibri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1_Tema do Office">
  <a:themeElements>
    <a:clrScheme name="Tema do Office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000FF"/>
      </a:hlink>
      <a:folHlink>
        <a:srgbClr val="FF00FF"/>
      </a:folHlink>
    </a:clrScheme>
    <a:fontScheme name="Tema do Office">
      <a:majorFont>
        <a:latin typeface="Raleway-SemiBold"/>
        <a:ea typeface="Raleway-SemiBold"/>
        <a:cs typeface="Raleway-SemiBold"/>
      </a:majorFont>
      <a:minorFont>
        <a:latin typeface="Raleway-SemiBold"/>
        <a:ea typeface="Raleway-SemiBold"/>
        <a:cs typeface="Raleway-SemiBold"/>
      </a:minorFont>
    </a:fontScheme>
    <a:fmtScheme name="Tema do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rgbClr val="F44F15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91439" tIns="91439" rIns="91439" bIns="91439" numCol="1" spcCol="38100" rtlCol="0" anchor="ctr">
        <a:noAutofit/>
      </a:bodyPr>
      <a:lstStyle>
        <a:defPPr marL="0" marR="0" indent="0" algn="l" defTabSz="18288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800" b="1" i="0" u="none" strike="noStrike" cap="none" spc="0" normalizeH="0" baseline="0" dirty="0" smtClean="0">
            <a:ln>
              <a:noFill/>
            </a:ln>
            <a:solidFill>
              <a:srgbClr val="000000"/>
            </a:solidFill>
            <a:effectLst/>
            <a:uFillTx/>
            <a:latin typeface="Calibri"/>
            <a:ea typeface="Calibri"/>
            <a:cs typeface="Calibri"/>
            <a:sym typeface="Calibri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25400" cap="flat">
          <a:noFill/>
          <a:miter lim="400000"/>
        </a:ln>
        <a:effectLst/>
        <a:sp3d/>
      </a:spPr>
      <a:bodyPr rot="0" spcFirstLastPara="1" vertOverflow="overflow" horzOverflow="overflow" vert="horz" wrap="square" lIns="91439" tIns="91439" rIns="91439" bIns="91439" numCol="1" spcCol="38100" rtlCol="0" anchor="t">
        <a:spAutoFit/>
      </a:bodyPr>
      <a:lstStyle>
        <a:defPPr marL="0" marR="0" indent="0" algn="l" defTabSz="18288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6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Calibri"/>
            <a:ea typeface="Calibri"/>
            <a:cs typeface="Calibri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3.xml><?xml version="1.0" encoding="utf-8"?>
<a:theme xmlns:a="http://schemas.openxmlformats.org/drawingml/2006/main" name="2_Office Theme">
  <a:themeElements>
    <a:clrScheme name="SW - TMV3 - Light">
      <a:dk1>
        <a:srgbClr val="272727"/>
      </a:dk1>
      <a:lt1>
        <a:srgbClr val="FFFFFF"/>
      </a:lt1>
      <a:dk2>
        <a:srgbClr val="000000"/>
      </a:dk2>
      <a:lt2>
        <a:srgbClr val="FFFFFF"/>
      </a:lt2>
      <a:accent1>
        <a:srgbClr val="27AC95"/>
      </a:accent1>
      <a:accent2>
        <a:srgbClr val="1BB1EC"/>
      </a:accent2>
      <a:accent3>
        <a:srgbClr val="0A67D4"/>
      </a:accent3>
      <a:accent4>
        <a:srgbClr val="0F51A9"/>
      </a:accent4>
      <a:accent5>
        <a:srgbClr val="2E2E2E"/>
      </a:accent5>
      <a:accent6>
        <a:srgbClr val="EBEBEB"/>
      </a:accent6>
      <a:hlink>
        <a:srgbClr val="32A79F"/>
      </a:hlink>
      <a:folHlink>
        <a:srgbClr val="89E1DE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ema do Office">
  <a:themeElements>
    <a:clrScheme name="Tema do Office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000FF"/>
      </a:hlink>
      <a:folHlink>
        <a:srgbClr val="FF00FF"/>
      </a:folHlink>
    </a:clrScheme>
    <a:fontScheme name="Tema do Office">
      <a:majorFont>
        <a:latin typeface="Raleway-SemiBold"/>
        <a:ea typeface="Raleway-SemiBold"/>
        <a:cs typeface="Raleway-SemiBold"/>
      </a:majorFont>
      <a:minorFont>
        <a:latin typeface="Raleway-SemiBold"/>
        <a:ea typeface="Raleway-SemiBold"/>
        <a:cs typeface="Raleway-SemiBold"/>
      </a:minorFont>
    </a:fontScheme>
    <a:fmtScheme name="Tema do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91439" tIns="91439" rIns="91439" bIns="91439" numCol="1" spcCol="38100" rtlCol="0" anchor="ctr">
        <a:spAutoFit/>
      </a:bodyPr>
      <a:lstStyle>
        <a:defPPr marL="0" marR="0" indent="0" algn="l" defTabSz="18288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6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Calibri"/>
            <a:ea typeface="Calibri"/>
            <a:cs typeface="Calibri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25400" cap="flat">
          <a:noFill/>
          <a:miter lim="400000"/>
        </a:ln>
        <a:effectLst/>
        <a:sp3d/>
      </a:spPr>
      <a:bodyPr rot="0" spcFirstLastPara="1" vertOverflow="overflow" horzOverflow="overflow" vert="horz" wrap="square" lIns="91439" tIns="91439" rIns="91439" bIns="91439" numCol="1" spcCol="38100" rtlCol="0" anchor="t">
        <a:spAutoFit/>
      </a:bodyPr>
      <a:lstStyle>
        <a:defPPr marL="0" marR="0" indent="0" algn="l" defTabSz="18288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6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Calibri"/>
            <a:ea typeface="Calibri"/>
            <a:cs typeface="Calibri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5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0</TotalTime>
  <Words>1683</Words>
  <Application>Microsoft Office PowerPoint</Application>
  <PresentationFormat>Personalizar</PresentationFormat>
  <Paragraphs>282</Paragraphs>
  <Slides>26</Slides>
  <Notes>7</Notes>
  <HiddenSlides>0</HiddenSlides>
  <MMClips>0</MMClips>
  <ScaleCrop>false</ScaleCrop>
  <HeadingPairs>
    <vt:vector size="6" baseType="variant">
      <vt:variant>
        <vt:lpstr>Tema</vt:lpstr>
      </vt:variant>
      <vt:variant>
        <vt:i4>3</vt:i4>
      </vt:variant>
      <vt:variant>
        <vt:lpstr>Servidores OLE incorporados</vt:lpstr>
      </vt:variant>
      <vt:variant>
        <vt:i4>1</vt:i4>
      </vt:variant>
      <vt:variant>
        <vt:lpstr>Títulos de slides</vt:lpstr>
      </vt:variant>
      <vt:variant>
        <vt:i4>26</vt:i4>
      </vt:variant>
    </vt:vector>
  </HeadingPairs>
  <TitlesOfParts>
    <vt:vector size="30" baseType="lpstr">
      <vt:lpstr>Tema do Office</vt:lpstr>
      <vt:lpstr>1_Tema do Office</vt:lpstr>
      <vt:lpstr>2_Office Theme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celo Lopes</dc:creator>
  <cp:lastModifiedBy>Usuário</cp:lastModifiedBy>
  <cp:revision>4</cp:revision>
  <dcterms:modified xsi:type="dcterms:W3CDTF">2021-11-09T13:13:00Z</dcterms:modified>
</cp:coreProperties>
</file>